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2" r:id="rId1"/>
  </p:sldMasterIdLst>
  <p:notesMasterIdLst>
    <p:notesMasterId r:id="rId5"/>
  </p:notesMasterIdLst>
  <p:handoutMasterIdLst>
    <p:handoutMasterId r:id="rId6"/>
  </p:handoutMasterIdLst>
  <p:sldIdLst>
    <p:sldId id="1546" r:id="rId2"/>
    <p:sldId id="1544" r:id="rId3"/>
    <p:sldId id="1542" r:id="rId4"/>
  </p:sldIdLst>
  <p:sldSz cx="12192000" cy="6858000"/>
  <p:notesSz cx="6735763" cy="9866313"/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7">
          <p15:clr>
            <a:srgbClr val="A4A3A4"/>
          </p15:clr>
        </p15:guide>
        <p15:guide id="2" pos="212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朱莉-集团总部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E3"/>
    <a:srgbClr val="E5A57A"/>
    <a:srgbClr val="255187"/>
    <a:srgbClr val="C9E7FB"/>
    <a:srgbClr val="EBF3FA"/>
    <a:srgbClr val="002060"/>
    <a:srgbClr val="C5E3F7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0811" autoAdjust="0"/>
  </p:normalViewPr>
  <p:slideViewPr>
    <p:cSldViewPr>
      <p:cViewPr varScale="1">
        <p:scale>
          <a:sx n="103" d="100"/>
          <a:sy n="103" d="100"/>
        </p:scale>
        <p:origin x="912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04"/>
    </p:cViewPr>
  </p:sorterViewPr>
  <p:notesViewPr>
    <p:cSldViewPr>
      <p:cViewPr varScale="1">
        <p:scale>
          <a:sx n="56" d="100"/>
          <a:sy n="56" d="100"/>
        </p:scale>
        <p:origin x="2382" y="84"/>
      </p:cViewPr>
      <p:guideLst>
        <p:guide orient="horz" pos="3107"/>
        <p:guide pos="212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8E415-56A7-4BC3-87F1-24D1B67E888F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53E8018-21C7-449B-B1CE-D80D1B5B56E8}">
      <dgm:prSet phldrT="[文本]"/>
      <dgm:spPr/>
      <dgm:t>
        <a:bodyPr/>
        <a:lstStyle/>
        <a:p>
          <a:r>
            <a:rPr lang="en-US" altLang="zh-CN" dirty="0"/>
            <a:t>TEST</a:t>
          </a:r>
          <a:endParaRPr lang="zh-CN" altLang="en-US" dirty="0"/>
        </a:p>
      </dgm:t>
    </dgm:pt>
    <dgm:pt modelId="{B633FD3C-0180-4C82-B3D0-58EC79354F3F}" type="parTrans" cxnId="{F26E6EA3-7EE7-4DF5-A16A-E80DE224C689}">
      <dgm:prSet/>
      <dgm:spPr/>
      <dgm:t>
        <a:bodyPr/>
        <a:lstStyle/>
        <a:p>
          <a:endParaRPr lang="zh-CN" altLang="en-US"/>
        </a:p>
      </dgm:t>
    </dgm:pt>
    <dgm:pt modelId="{C7789584-52E2-49F4-BB0D-B0267DD8F934}" type="sibTrans" cxnId="{F26E6EA3-7EE7-4DF5-A16A-E80DE224C689}">
      <dgm:prSet/>
      <dgm:spPr/>
      <dgm:t>
        <a:bodyPr/>
        <a:lstStyle/>
        <a:p>
          <a:endParaRPr lang="zh-CN" altLang="en-US"/>
        </a:p>
      </dgm:t>
    </dgm:pt>
    <dgm:pt modelId="{94D0BC9A-C404-461D-A899-8D3370117288}">
      <dgm:prSet phldrT="[文本]" phldr="1"/>
      <dgm:spPr/>
      <dgm:t>
        <a:bodyPr/>
        <a:lstStyle/>
        <a:p>
          <a:endParaRPr lang="zh-CN" altLang="en-US"/>
        </a:p>
      </dgm:t>
    </dgm:pt>
    <dgm:pt modelId="{A9C71A5A-7A90-492C-9218-AC5995819E05}" type="parTrans" cxnId="{32CC0FEC-DD20-4CB5-86FD-7B0D59303219}">
      <dgm:prSet/>
      <dgm:spPr/>
      <dgm:t>
        <a:bodyPr/>
        <a:lstStyle/>
        <a:p>
          <a:endParaRPr lang="zh-CN" altLang="en-US"/>
        </a:p>
      </dgm:t>
    </dgm:pt>
    <dgm:pt modelId="{61E1DA9E-DC0B-456E-9C66-2F4523F50075}" type="sibTrans" cxnId="{32CC0FEC-DD20-4CB5-86FD-7B0D59303219}">
      <dgm:prSet/>
      <dgm:spPr/>
      <dgm:t>
        <a:bodyPr/>
        <a:lstStyle/>
        <a:p>
          <a:endParaRPr lang="zh-CN" altLang="en-US"/>
        </a:p>
      </dgm:t>
    </dgm:pt>
    <dgm:pt modelId="{F41C1792-429D-4813-9CE1-0231E0EEC138}">
      <dgm:prSet phldrT="[文本]" phldr="1"/>
      <dgm:spPr/>
      <dgm:t>
        <a:bodyPr/>
        <a:lstStyle/>
        <a:p>
          <a:endParaRPr lang="zh-CN" altLang="en-US"/>
        </a:p>
      </dgm:t>
    </dgm:pt>
    <dgm:pt modelId="{F378EFB5-A728-407E-94F1-A920666A579D}" type="parTrans" cxnId="{75EB6834-6244-47C1-828F-0F57B465C7DF}">
      <dgm:prSet/>
      <dgm:spPr/>
      <dgm:t>
        <a:bodyPr/>
        <a:lstStyle/>
        <a:p>
          <a:endParaRPr lang="zh-CN" altLang="en-US"/>
        </a:p>
      </dgm:t>
    </dgm:pt>
    <dgm:pt modelId="{1895151F-3D5D-4ECF-9E2E-908F83517DC3}" type="sibTrans" cxnId="{75EB6834-6244-47C1-828F-0F57B465C7DF}">
      <dgm:prSet/>
      <dgm:spPr/>
      <dgm:t>
        <a:bodyPr/>
        <a:lstStyle/>
        <a:p>
          <a:endParaRPr lang="zh-CN" altLang="en-US"/>
        </a:p>
      </dgm:t>
    </dgm:pt>
    <dgm:pt modelId="{B355AF03-6347-44F0-9D79-5762B8EF2272}">
      <dgm:prSet phldrT="[文本]" phldr="1"/>
      <dgm:spPr/>
      <dgm:t>
        <a:bodyPr/>
        <a:lstStyle/>
        <a:p>
          <a:endParaRPr lang="zh-CN" altLang="en-US"/>
        </a:p>
      </dgm:t>
    </dgm:pt>
    <dgm:pt modelId="{A0F3ECBB-3ECD-47B7-BFA9-D546399E49F1}" type="parTrans" cxnId="{A700D346-AFC8-4DB5-A0A1-2102C47DFA88}">
      <dgm:prSet/>
      <dgm:spPr/>
      <dgm:t>
        <a:bodyPr/>
        <a:lstStyle/>
        <a:p>
          <a:endParaRPr lang="zh-CN" altLang="en-US"/>
        </a:p>
      </dgm:t>
    </dgm:pt>
    <dgm:pt modelId="{89530BF9-2CF4-43A7-9DAB-27D02241881D}" type="sibTrans" cxnId="{A700D346-AFC8-4DB5-A0A1-2102C47DFA88}">
      <dgm:prSet/>
      <dgm:spPr/>
      <dgm:t>
        <a:bodyPr/>
        <a:lstStyle/>
        <a:p>
          <a:endParaRPr lang="zh-CN" altLang="en-US"/>
        </a:p>
      </dgm:t>
    </dgm:pt>
    <dgm:pt modelId="{F02061DE-5CAF-4EF6-AB2F-E5353D632946}">
      <dgm:prSet phldrT="[文本]" phldr="1"/>
      <dgm:spPr/>
      <dgm:t>
        <a:bodyPr/>
        <a:lstStyle/>
        <a:p>
          <a:endParaRPr lang="zh-CN" altLang="en-US"/>
        </a:p>
      </dgm:t>
    </dgm:pt>
    <dgm:pt modelId="{90ED2BE9-D9FC-48CB-BCFF-498C739BD0FF}" type="parTrans" cxnId="{CFFAA6DE-C796-43C6-BC81-C1F43C555216}">
      <dgm:prSet/>
      <dgm:spPr/>
      <dgm:t>
        <a:bodyPr/>
        <a:lstStyle/>
        <a:p>
          <a:endParaRPr lang="zh-CN" altLang="en-US"/>
        </a:p>
      </dgm:t>
    </dgm:pt>
    <dgm:pt modelId="{45106B39-2147-448B-A950-E5DB63FB3AA3}" type="sibTrans" cxnId="{CFFAA6DE-C796-43C6-BC81-C1F43C555216}">
      <dgm:prSet/>
      <dgm:spPr/>
      <dgm:t>
        <a:bodyPr/>
        <a:lstStyle/>
        <a:p>
          <a:endParaRPr lang="zh-CN" altLang="en-US"/>
        </a:p>
      </dgm:t>
    </dgm:pt>
    <dgm:pt modelId="{2E78FE11-9B6D-4736-9D6D-FBD8D65CD23F}">
      <dgm:prSet phldrT="[文本]" phldr="1"/>
      <dgm:spPr/>
      <dgm:t>
        <a:bodyPr/>
        <a:lstStyle/>
        <a:p>
          <a:endParaRPr lang="zh-CN" altLang="en-US"/>
        </a:p>
      </dgm:t>
    </dgm:pt>
    <dgm:pt modelId="{78E25F11-4CDB-4BE2-9D87-3B4B98FB5DE6}" type="parTrans" cxnId="{666F0687-143C-490B-BE69-8E122D726319}">
      <dgm:prSet/>
      <dgm:spPr/>
      <dgm:t>
        <a:bodyPr/>
        <a:lstStyle/>
        <a:p>
          <a:endParaRPr lang="zh-CN" altLang="en-US"/>
        </a:p>
      </dgm:t>
    </dgm:pt>
    <dgm:pt modelId="{3872ABC6-24D1-4C70-A47B-8D13AF4EF7A0}" type="sibTrans" cxnId="{666F0687-143C-490B-BE69-8E122D726319}">
      <dgm:prSet/>
      <dgm:spPr/>
      <dgm:t>
        <a:bodyPr/>
        <a:lstStyle/>
        <a:p>
          <a:endParaRPr lang="zh-CN" altLang="en-US"/>
        </a:p>
      </dgm:t>
    </dgm:pt>
    <dgm:pt modelId="{403546A8-241D-4D30-9EA1-211504353129}">
      <dgm:prSet phldrT="[文本]" phldr="1"/>
      <dgm:spPr/>
      <dgm:t>
        <a:bodyPr/>
        <a:lstStyle/>
        <a:p>
          <a:endParaRPr lang="zh-CN" altLang="en-US"/>
        </a:p>
      </dgm:t>
    </dgm:pt>
    <dgm:pt modelId="{8A9468B4-38B2-47B4-A2DF-7D28CDAA3DD2}" type="parTrans" cxnId="{FE343516-CF83-4583-8DEB-A81B064CFF4C}">
      <dgm:prSet/>
      <dgm:spPr/>
      <dgm:t>
        <a:bodyPr/>
        <a:lstStyle/>
        <a:p>
          <a:endParaRPr lang="zh-CN" altLang="en-US"/>
        </a:p>
      </dgm:t>
    </dgm:pt>
    <dgm:pt modelId="{EF7F72B2-1C3C-496E-A464-193C52402975}" type="sibTrans" cxnId="{FE343516-CF83-4583-8DEB-A81B064CFF4C}">
      <dgm:prSet/>
      <dgm:spPr/>
      <dgm:t>
        <a:bodyPr/>
        <a:lstStyle/>
        <a:p>
          <a:endParaRPr lang="zh-CN" altLang="en-US"/>
        </a:p>
      </dgm:t>
    </dgm:pt>
    <dgm:pt modelId="{E7743A0D-3B3D-4E52-88C3-31164894D7DF}">
      <dgm:prSet phldrT="[文本]" phldr="1"/>
      <dgm:spPr/>
      <dgm:t>
        <a:bodyPr/>
        <a:lstStyle/>
        <a:p>
          <a:endParaRPr lang="zh-CN" altLang="en-US"/>
        </a:p>
      </dgm:t>
    </dgm:pt>
    <dgm:pt modelId="{BC9EB557-5A57-4A21-B338-479591D6E1F3}" type="parTrans" cxnId="{A975FC24-5017-4304-9EA5-600EAFEF6E2B}">
      <dgm:prSet/>
      <dgm:spPr/>
      <dgm:t>
        <a:bodyPr/>
        <a:lstStyle/>
        <a:p>
          <a:endParaRPr lang="zh-CN" altLang="en-US"/>
        </a:p>
      </dgm:t>
    </dgm:pt>
    <dgm:pt modelId="{38E309C0-683C-4766-8967-42F0F02BF4B3}" type="sibTrans" cxnId="{A975FC24-5017-4304-9EA5-600EAFEF6E2B}">
      <dgm:prSet/>
      <dgm:spPr/>
      <dgm:t>
        <a:bodyPr/>
        <a:lstStyle/>
        <a:p>
          <a:endParaRPr lang="zh-CN" altLang="en-US"/>
        </a:p>
      </dgm:t>
    </dgm:pt>
    <dgm:pt modelId="{50A5AED7-B701-4857-A32F-9530F732B332}">
      <dgm:prSet phldrT="[文本]" phldr="1"/>
      <dgm:spPr/>
      <dgm:t>
        <a:bodyPr/>
        <a:lstStyle/>
        <a:p>
          <a:endParaRPr lang="zh-CN" altLang="en-US"/>
        </a:p>
      </dgm:t>
    </dgm:pt>
    <dgm:pt modelId="{F03BC938-8969-455B-817D-0F159451E7A4}" type="parTrans" cxnId="{C7060A22-FDB1-4BD2-AAA4-04252CE2B218}">
      <dgm:prSet/>
      <dgm:spPr/>
      <dgm:t>
        <a:bodyPr/>
        <a:lstStyle/>
        <a:p>
          <a:endParaRPr lang="zh-CN" altLang="en-US"/>
        </a:p>
      </dgm:t>
    </dgm:pt>
    <dgm:pt modelId="{6AB3D47D-75D2-4EE8-86A6-66D4228A99D1}" type="sibTrans" cxnId="{C7060A22-FDB1-4BD2-AAA4-04252CE2B218}">
      <dgm:prSet/>
      <dgm:spPr/>
      <dgm:t>
        <a:bodyPr/>
        <a:lstStyle/>
        <a:p>
          <a:endParaRPr lang="zh-CN" altLang="en-US"/>
        </a:p>
      </dgm:t>
    </dgm:pt>
    <dgm:pt modelId="{D9A5BCC9-11DF-4BA1-8290-CB9868BF78F5}" type="pres">
      <dgm:prSet presAssocID="{ACD8E415-56A7-4BC3-87F1-24D1B67E888F}" presName="Name0" presStyleCnt="0">
        <dgm:presLayoutVars>
          <dgm:dir/>
          <dgm:animLvl val="lvl"/>
          <dgm:resizeHandles val="exact"/>
        </dgm:presLayoutVars>
      </dgm:prSet>
      <dgm:spPr/>
    </dgm:pt>
    <dgm:pt modelId="{2D694B78-A73C-48A9-B42F-D1E82B14F0E7}" type="pres">
      <dgm:prSet presAssocID="{753E8018-21C7-449B-B1CE-D80D1B5B56E8}" presName="linNode" presStyleCnt="0"/>
      <dgm:spPr/>
    </dgm:pt>
    <dgm:pt modelId="{055D6D57-C8DB-47FB-A486-D6A71F348318}" type="pres">
      <dgm:prSet presAssocID="{753E8018-21C7-449B-B1CE-D80D1B5B56E8}" presName="parentText" presStyleLbl="node1" presStyleIdx="0" presStyleCnt="3" custLinFactNeighborX="-5537" custLinFactNeighborY="-3332">
        <dgm:presLayoutVars>
          <dgm:chMax val="1"/>
          <dgm:bulletEnabled val="1"/>
        </dgm:presLayoutVars>
      </dgm:prSet>
      <dgm:spPr/>
    </dgm:pt>
    <dgm:pt modelId="{F63366BE-5503-4197-9F3E-04DF1783F914}" type="pres">
      <dgm:prSet presAssocID="{753E8018-21C7-449B-B1CE-D80D1B5B56E8}" presName="descendantText" presStyleLbl="alignAccFollowNode1" presStyleIdx="0" presStyleCnt="3">
        <dgm:presLayoutVars>
          <dgm:bulletEnabled val="1"/>
        </dgm:presLayoutVars>
      </dgm:prSet>
      <dgm:spPr/>
    </dgm:pt>
    <dgm:pt modelId="{3AAC1579-64A1-4419-AA16-BCFF8D790FAC}" type="pres">
      <dgm:prSet presAssocID="{C7789584-52E2-49F4-BB0D-B0267DD8F934}" presName="sp" presStyleCnt="0"/>
      <dgm:spPr/>
    </dgm:pt>
    <dgm:pt modelId="{745EE01D-73C1-47F1-8362-557B89E8C15D}" type="pres">
      <dgm:prSet presAssocID="{B355AF03-6347-44F0-9D79-5762B8EF2272}" presName="linNode" presStyleCnt="0"/>
      <dgm:spPr/>
    </dgm:pt>
    <dgm:pt modelId="{49B8AA26-C4EB-480E-BC91-7E5AC7B4B76F}" type="pres">
      <dgm:prSet presAssocID="{B355AF03-6347-44F0-9D79-5762B8EF2272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948B2B66-12A5-47C8-95DF-E3EEB9DC1AF1}" type="pres">
      <dgm:prSet presAssocID="{B355AF03-6347-44F0-9D79-5762B8EF2272}" presName="descendantText" presStyleLbl="alignAccFollowNode1" presStyleIdx="1" presStyleCnt="3">
        <dgm:presLayoutVars>
          <dgm:bulletEnabled val="1"/>
        </dgm:presLayoutVars>
      </dgm:prSet>
      <dgm:spPr/>
    </dgm:pt>
    <dgm:pt modelId="{DE54A441-9B7B-4541-8529-01043FC718B3}" type="pres">
      <dgm:prSet presAssocID="{89530BF9-2CF4-43A7-9DAB-27D02241881D}" presName="sp" presStyleCnt="0"/>
      <dgm:spPr/>
    </dgm:pt>
    <dgm:pt modelId="{7C671476-3A51-4FDD-8F74-A9AFA7C228EB}" type="pres">
      <dgm:prSet presAssocID="{403546A8-241D-4D30-9EA1-211504353129}" presName="linNode" presStyleCnt="0"/>
      <dgm:spPr/>
    </dgm:pt>
    <dgm:pt modelId="{33FE4258-2C81-4BCD-A175-AC204F2309A0}" type="pres">
      <dgm:prSet presAssocID="{403546A8-241D-4D30-9EA1-211504353129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A715EADC-2FAA-41F8-BB86-8C24672D1B8B}" type="pres">
      <dgm:prSet presAssocID="{403546A8-241D-4D30-9EA1-211504353129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FE343516-CF83-4583-8DEB-A81B064CFF4C}" srcId="{ACD8E415-56A7-4BC3-87F1-24D1B67E888F}" destId="{403546A8-241D-4D30-9EA1-211504353129}" srcOrd="2" destOrd="0" parTransId="{8A9468B4-38B2-47B4-A2DF-7D28CDAA3DD2}" sibTransId="{EF7F72B2-1C3C-496E-A464-193C52402975}"/>
    <dgm:cxn modelId="{C7060A22-FDB1-4BD2-AAA4-04252CE2B218}" srcId="{403546A8-241D-4D30-9EA1-211504353129}" destId="{50A5AED7-B701-4857-A32F-9530F732B332}" srcOrd="1" destOrd="0" parTransId="{F03BC938-8969-455B-817D-0F159451E7A4}" sibTransId="{6AB3D47D-75D2-4EE8-86A6-66D4228A99D1}"/>
    <dgm:cxn modelId="{A975FC24-5017-4304-9EA5-600EAFEF6E2B}" srcId="{403546A8-241D-4D30-9EA1-211504353129}" destId="{E7743A0D-3B3D-4E52-88C3-31164894D7DF}" srcOrd="0" destOrd="0" parTransId="{BC9EB557-5A57-4A21-B338-479591D6E1F3}" sibTransId="{38E309C0-683C-4766-8967-42F0F02BF4B3}"/>
    <dgm:cxn modelId="{195F8926-05A3-4864-8207-7C768E660ABE}" type="presOf" srcId="{2E78FE11-9B6D-4736-9D6D-FBD8D65CD23F}" destId="{948B2B66-12A5-47C8-95DF-E3EEB9DC1AF1}" srcOrd="0" destOrd="1" presId="urn:microsoft.com/office/officeart/2005/8/layout/vList5"/>
    <dgm:cxn modelId="{C3198E27-A219-423E-92C9-FBB3ABD1A35F}" type="presOf" srcId="{50A5AED7-B701-4857-A32F-9530F732B332}" destId="{A715EADC-2FAA-41F8-BB86-8C24672D1B8B}" srcOrd="0" destOrd="1" presId="urn:microsoft.com/office/officeart/2005/8/layout/vList5"/>
    <dgm:cxn modelId="{0A09C729-E85E-44B6-BF35-D90C008604E5}" type="presOf" srcId="{ACD8E415-56A7-4BC3-87F1-24D1B67E888F}" destId="{D9A5BCC9-11DF-4BA1-8290-CB9868BF78F5}" srcOrd="0" destOrd="0" presId="urn:microsoft.com/office/officeart/2005/8/layout/vList5"/>
    <dgm:cxn modelId="{75EB6834-6244-47C1-828F-0F57B465C7DF}" srcId="{753E8018-21C7-449B-B1CE-D80D1B5B56E8}" destId="{F41C1792-429D-4813-9CE1-0231E0EEC138}" srcOrd="1" destOrd="0" parTransId="{F378EFB5-A728-407E-94F1-A920666A579D}" sibTransId="{1895151F-3D5D-4ECF-9E2E-908F83517DC3}"/>
    <dgm:cxn modelId="{8E5C393D-C1FF-4150-82F9-E664037468E8}" type="presOf" srcId="{F02061DE-5CAF-4EF6-AB2F-E5353D632946}" destId="{948B2B66-12A5-47C8-95DF-E3EEB9DC1AF1}" srcOrd="0" destOrd="0" presId="urn:microsoft.com/office/officeart/2005/8/layout/vList5"/>
    <dgm:cxn modelId="{A700D346-AFC8-4DB5-A0A1-2102C47DFA88}" srcId="{ACD8E415-56A7-4BC3-87F1-24D1B67E888F}" destId="{B355AF03-6347-44F0-9D79-5762B8EF2272}" srcOrd="1" destOrd="0" parTransId="{A0F3ECBB-3ECD-47B7-BFA9-D546399E49F1}" sibTransId="{89530BF9-2CF4-43A7-9DAB-27D02241881D}"/>
    <dgm:cxn modelId="{666F0687-143C-490B-BE69-8E122D726319}" srcId="{B355AF03-6347-44F0-9D79-5762B8EF2272}" destId="{2E78FE11-9B6D-4736-9D6D-FBD8D65CD23F}" srcOrd="1" destOrd="0" parTransId="{78E25F11-4CDB-4BE2-9D87-3B4B98FB5DE6}" sibTransId="{3872ABC6-24D1-4C70-A47B-8D13AF4EF7A0}"/>
    <dgm:cxn modelId="{6E27F393-58E5-4160-A4C8-D31DFD80B679}" type="presOf" srcId="{403546A8-241D-4D30-9EA1-211504353129}" destId="{33FE4258-2C81-4BCD-A175-AC204F2309A0}" srcOrd="0" destOrd="0" presId="urn:microsoft.com/office/officeart/2005/8/layout/vList5"/>
    <dgm:cxn modelId="{F26E6EA3-7EE7-4DF5-A16A-E80DE224C689}" srcId="{ACD8E415-56A7-4BC3-87F1-24D1B67E888F}" destId="{753E8018-21C7-449B-B1CE-D80D1B5B56E8}" srcOrd="0" destOrd="0" parTransId="{B633FD3C-0180-4C82-B3D0-58EC79354F3F}" sibTransId="{C7789584-52E2-49F4-BB0D-B0267DD8F934}"/>
    <dgm:cxn modelId="{34D06FA7-F2C6-4378-AA41-C7A3C7F53F34}" type="presOf" srcId="{753E8018-21C7-449B-B1CE-D80D1B5B56E8}" destId="{055D6D57-C8DB-47FB-A486-D6A71F348318}" srcOrd="0" destOrd="0" presId="urn:microsoft.com/office/officeart/2005/8/layout/vList5"/>
    <dgm:cxn modelId="{FFBBAECC-9F80-416D-BCFA-72B7D456C850}" type="presOf" srcId="{94D0BC9A-C404-461D-A899-8D3370117288}" destId="{F63366BE-5503-4197-9F3E-04DF1783F914}" srcOrd="0" destOrd="0" presId="urn:microsoft.com/office/officeart/2005/8/layout/vList5"/>
    <dgm:cxn modelId="{2E2914CE-7692-4F9E-A4B5-C10E58289F56}" type="presOf" srcId="{F41C1792-429D-4813-9CE1-0231E0EEC138}" destId="{F63366BE-5503-4197-9F3E-04DF1783F914}" srcOrd="0" destOrd="1" presId="urn:microsoft.com/office/officeart/2005/8/layout/vList5"/>
    <dgm:cxn modelId="{CFFAA6DE-C796-43C6-BC81-C1F43C555216}" srcId="{B355AF03-6347-44F0-9D79-5762B8EF2272}" destId="{F02061DE-5CAF-4EF6-AB2F-E5353D632946}" srcOrd="0" destOrd="0" parTransId="{90ED2BE9-D9FC-48CB-BCFF-498C739BD0FF}" sibTransId="{45106B39-2147-448B-A950-E5DB63FB3AA3}"/>
    <dgm:cxn modelId="{32CC0FEC-DD20-4CB5-86FD-7B0D59303219}" srcId="{753E8018-21C7-449B-B1CE-D80D1B5B56E8}" destId="{94D0BC9A-C404-461D-A899-8D3370117288}" srcOrd="0" destOrd="0" parTransId="{A9C71A5A-7A90-492C-9218-AC5995819E05}" sibTransId="{61E1DA9E-DC0B-456E-9C66-2F4523F50075}"/>
    <dgm:cxn modelId="{E74B5FED-C644-4AD3-ADED-638B089E90A0}" type="presOf" srcId="{B355AF03-6347-44F0-9D79-5762B8EF2272}" destId="{49B8AA26-C4EB-480E-BC91-7E5AC7B4B76F}" srcOrd="0" destOrd="0" presId="urn:microsoft.com/office/officeart/2005/8/layout/vList5"/>
    <dgm:cxn modelId="{0E5D2DF6-EEFA-45FF-B85F-0FF447C6B42E}" type="presOf" srcId="{E7743A0D-3B3D-4E52-88C3-31164894D7DF}" destId="{A715EADC-2FAA-41F8-BB86-8C24672D1B8B}" srcOrd="0" destOrd="0" presId="urn:microsoft.com/office/officeart/2005/8/layout/vList5"/>
    <dgm:cxn modelId="{21765929-E6CC-4D4D-B29F-4F291A53BC9D}" type="presParOf" srcId="{D9A5BCC9-11DF-4BA1-8290-CB9868BF78F5}" destId="{2D694B78-A73C-48A9-B42F-D1E82B14F0E7}" srcOrd="0" destOrd="0" presId="urn:microsoft.com/office/officeart/2005/8/layout/vList5"/>
    <dgm:cxn modelId="{A457E0CA-0AC8-4A1F-A6BE-DEB566C76456}" type="presParOf" srcId="{2D694B78-A73C-48A9-B42F-D1E82B14F0E7}" destId="{055D6D57-C8DB-47FB-A486-D6A71F348318}" srcOrd="0" destOrd="0" presId="urn:microsoft.com/office/officeart/2005/8/layout/vList5"/>
    <dgm:cxn modelId="{D8357AD9-7353-4741-8279-5E2F7262F37E}" type="presParOf" srcId="{2D694B78-A73C-48A9-B42F-D1E82B14F0E7}" destId="{F63366BE-5503-4197-9F3E-04DF1783F914}" srcOrd="1" destOrd="0" presId="urn:microsoft.com/office/officeart/2005/8/layout/vList5"/>
    <dgm:cxn modelId="{F9132B3E-0B25-4F05-9B95-8C261B5C4305}" type="presParOf" srcId="{D9A5BCC9-11DF-4BA1-8290-CB9868BF78F5}" destId="{3AAC1579-64A1-4419-AA16-BCFF8D790FAC}" srcOrd="1" destOrd="0" presId="urn:microsoft.com/office/officeart/2005/8/layout/vList5"/>
    <dgm:cxn modelId="{A025BFBD-DBE8-48D8-8764-3064B39AA4D1}" type="presParOf" srcId="{D9A5BCC9-11DF-4BA1-8290-CB9868BF78F5}" destId="{745EE01D-73C1-47F1-8362-557B89E8C15D}" srcOrd="2" destOrd="0" presId="urn:microsoft.com/office/officeart/2005/8/layout/vList5"/>
    <dgm:cxn modelId="{7BF9418A-A7B2-479E-8A36-916D8448B2B4}" type="presParOf" srcId="{745EE01D-73C1-47F1-8362-557B89E8C15D}" destId="{49B8AA26-C4EB-480E-BC91-7E5AC7B4B76F}" srcOrd="0" destOrd="0" presId="urn:microsoft.com/office/officeart/2005/8/layout/vList5"/>
    <dgm:cxn modelId="{9A72B9E1-5D21-4FF1-B702-8DDD585F5F60}" type="presParOf" srcId="{745EE01D-73C1-47F1-8362-557B89E8C15D}" destId="{948B2B66-12A5-47C8-95DF-E3EEB9DC1AF1}" srcOrd="1" destOrd="0" presId="urn:microsoft.com/office/officeart/2005/8/layout/vList5"/>
    <dgm:cxn modelId="{83F88F0A-2DDD-4C17-B87C-11B139A89A35}" type="presParOf" srcId="{D9A5BCC9-11DF-4BA1-8290-CB9868BF78F5}" destId="{DE54A441-9B7B-4541-8529-01043FC718B3}" srcOrd="3" destOrd="0" presId="urn:microsoft.com/office/officeart/2005/8/layout/vList5"/>
    <dgm:cxn modelId="{C62343DE-91F4-4E1B-AA69-E177028FDB7F}" type="presParOf" srcId="{D9A5BCC9-11DF-4BA1-8290-CB9868BF78F5}" destId="{7C671476-3A51-4FDD-8F74-A9AFA7C228EB}" srcOrd="4" destOrd="0" presId="urn:microsoft.com/office/officeart/2005/8/layout/vList5"/>
    <dgm:cxn modelId="{47D37EFF-A543-4D87-A1E1-D19F093F3DF6}" type="presParOf" srcId="{7C671476-3A51-4FDD-8F74-A9AFA7C228EB}" destId="{33FE4258-2C81-4BCD-A175-AC204F2309A0}" srcOrd="0" destOrd="0" presId="urn:microsoft.com/office/officeart/2005/8/layout/vList5"/>
    <dgm:cxn modelId="{3FC67E6C-B105-430C-AA6E-43725D19EA1C}" type="presParOf" srcId="{7C671476-3A51-4FDD-8F74-A9AFA7C228EB}" destId="{A715EADC-2FAA-41F8-BB86-8C24672D1B8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3366BE-5503-4197-9F3E-04DF1783F914}">
      <dsp:nvSpPr>
        <dsp:cNvPr id="0" name=""/>
        <dsp:cNvSpPr/>
      </dsp:nvSpPr>
      <dsp:spPr>
        <a:xfrm rot="5400000">
          <a:off x="4828539" y="-1725189"/>
          <a:ext cx="1397000" cy="520192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3500" kern="1200"/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3500" kern="1200"/>
        </a:p>
      </dsp:txBody>
      <dsp:txXfrm rot="-5400000">
        <a:off x="2926079" y="245467"/>
        <a:ext cx="5133724" cy="1260608"/>
      </dsp:txXfrm>
    </dsp:sp>
    <dsp:sp modelId="{055D6D57-C8DB-47FB-A486-D6A71F348318}">
      <dsp:nvSpPr>
        <dsp:cNvPr id="0" name=""/>
        <dsp:cNvSpPr/>
      </dsp:nvSpPr>
      <dsp:spPr>
        <a:xfrm>
          <a:off x="0" y="0"/>
          <a:ext cx="2926080" cy="17462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6500" kern="1200" dirty="0"/>
            <a:t>TEST</a:t>
          </a:r>
          <a:endParaRPr lang="zh-CN" altLang="en-US" sz="6500" kern="1200" dirty="0"/>
        </a:p>
      </dsp:txBody>
      <dsp:txXfrm>
        <a:off x="85245" y="85245"/>
        <a:ext cx="2755590" cy="1575760"/>
      </dsp:txXfrm>
    </dsp:sp>
    <dsp:sp modelId="{948B2B66-12A5-47C8-95DF-E3EEB9DC1AF1}">
      <dsp:nvSpPr>
        <dsp:cNvPr id="0" name=""/>
        <dsp:cNvSpPr/>
      </dsp:nvSpPr>
      <dsp:spPr>
        <a:xfrm rot="5400000">
          <a:off x="4828539" y="108373"/>
          <a:ext cx="1397000" cy="520192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3500" kern="1200"/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3500" kern="1200"/>
        </a:p>
      </dsp:txBody>
      <dsp:txXfrm rot="-5400000">
        <a:off x="2926079" y="2079029"/>
        <a:ext cx="5133724" cy="1260608"/>
      </dsp:txXfrm>
    </dsp:sp>
    <dsp:sp modelId="{49B8AA26-C4EB-480E-BC91-7E5AC7B4B76F}">
      <dsp:nvSpPr>
        <dsp:cNvPr id="0" name=""/>
        <dsp:cNvSpPr/>
      </dsp:nvSpPr>
      <dsp:spPr>
        <a:xfrm>
          <a:off x="0" y="1836208"/>
          <a:ext cx="2926080" cy="17462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6500" kern="1200"/>
        </a:p>
      </dsp:txBody>
      <dsp:txXfrm>
        <a:off x="85245" y="1921453"/>
        <a:ext cx="2755590" cy="1575760"/>
      </dsp:txXfrm>
    </dsp:sp>
    <dsp:sp modelId="{A715EADC-2FAA-41F8-BB86-8C24672D1B8B}">
      <dsp:nvSpPr>
        <dsp:cNvPr id="0" name=""/>
        <dsp:cNvSpPr/>
      </dsp:nvSpPr>
      <dsp:spPr>
        <a:xfrm rot="5400000">
          <a:off x="4828539" y="1941936"/>
          <a:ext cx="1397000" cy="520192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66675" rIns="133350" bIns="66675" numCol="1" spcCol="1270" anchor="ctr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3500" kern="1200"/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zh-CN" altLang="en-US" sz="3500" kern="1200"/>
        </a:p>
      </dsp:txBody>
      <dsp:txXfrm rot="-5400000">
        <a:off x="2926079" y="3912592"/>
        <a:ext cx="5133724" cy="1260608"/>
      </dsp:txXfrm>
    </dsp:sp>
    <dsp:sp modelId="{33FE4258-2C81-4BCD-A175-AC204F2309A0}">
      <dsp:nvSpPr>
        <dsp:cNvPr id="0" name=""/>
        <dsp:cNvSpPr/>
      </dsp:nvSpPr>
      <dsp:spPr>
        <a:xfrm>
          <a:off x="0" y="3669771"/>
          <a:ext cx="2926080" cy="17462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6500" kern="1200"/>
        </a:p>
      </dsp:txBody>
      <dsp:txXfrm>
        <a:off x="85245" y="3755016"/>
        <a:ext cx="2755590" cy="15757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2F7E1C40-6FD0-4081-804B-507FD8CC50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421E0CD-9418-43F3-B78E-43ADABAAE07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4DCF01CC-627F-49FD-8ACD-0A0811B24D34}" type="datetimeFigureOut">
              <a:rPr lang="zh-CN" altLang="en-US"/>
              <a:pPr>
                <a:defRPr/>
              </a:pPr>
              <a:t>2020/2/2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50E09A3-5BC2-4733-825B-B5057EF3567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A08A396C-D2CC-4C4B-93E1-514AAAE7B32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BD985207-0BBE-402C-97DB-4956E7DB6173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378D595-783C-445F-AACD-04D69EC09C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7583775-C059-4495-BF75-E24AD95DFB1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77D16B30-ADA5-4986-98E1-0F966074CB29}" type="datetimeFigureOut">
              <a:rPr lang="zh-CN" altLang="en-US"/>
              <a:pPr>
                <a:defRPr/>
              </a:pPr>
              <a:t>2020/2/20</a:t>
            </a:fld>
            <a:endParaRPr lang="zh-CN" altLang="en-US"/>
          </a:p>
        </p:txBody>
      </p:sp>
      <p:sp>
        <p:nvSpPr>
          <p:cNvPr id="4" name="幻灯片图像占位符 3">
            <a:extLst>
              <a:ext uri="{FF2B5EF4-FFF2-40B4-BE49-F238E27FC236}">
                <a16:creationId xmlns:a16="http://schemas.microsoft.com/office/drawing/2014/main" id="{85F8910A-67C3-47EE-B844-882B64BC5DC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0963" y="739775"/>
            <a:ext cx="6573837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2" rIns="91425" bIns="45712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>
            <a:extLst>
              <a:ext uri="{FF2B5EF4-FFF2-40B4-BE49-F238E27FC236}">
                <a16:creationId xmlns:a16="http://schemas.microsoft.com/office/drawing/2014/main" id="{91C73890-BEF8-4B12-A801-AB60A91AD3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3100" y="4686300"/>
            <a:ext cx="5389563" cy="4440238"/>
          </a:xfrm>
          <a:prstGeom prst="rect">
            <a:avLst/>
          </a:prstGeom>
        </p:spPr>
        <p:txBody>
          <a:bodyPr vert="horz" lIns="91425" tIns="45712" rIns="91425" bIns="45712" rtlCol="0">
            <a:norm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D10A4B9-D5E3-405D-B3F8-E74876B34A2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8A90E62-8566-40DD-9B85-7B9F85184C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31188BA2-C30D-4C78-96CA-4AC0E723539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幻灯片图像占位符 1">
            <a:extLst>
              <a:ext uri="{FF2B5EF4-FFF2-40B4-BE49-F238E27FC236}">
                <a16:creationId xmlns:a16="http://schemas.microsoft.com/office/drawing/2014/main" id="{D58A8F6E-9070-4581-A958-99A55385F59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备注占位符 2">
            <a:extLst>
              <a:ext uri="{FF2B5EF4-FFF2-40B4-BE49-F238E27FC236}">
                <a16:creationId xmlns:a16="http://schemas.microsoft.com/office/drawing/2014/main" id="{B5FB20CA-A70F-4FE2-83BA-4C36120AE0F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zh-CN" altLang="en-US"/>
          </a:p>
        </p:txBody>
      </p:sp>
      <p:sp>
        <p:nvSpPr>
          <p:cNvPr id="11268" name="灯片编号占位符 3">
            <a:extLst>
              <a:ext uri="{FF2B5EF4-FFF2-40B4-BE49-F238E27FC236}">
                <a16:creationId xmlns:a16="http://schemas.microsoft.com/office/drawing/2014/main" id="{422B8AD0-8424-4239-B760-C16F5E26A01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8D9C23F-B8E7-43DD-BE42-C7731929BE4D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幻灯片图像占位符 1">
            <a:extLst>
              <a:ext uri="{FF2B5EF4-FFF2-40B4-BE49-F238E27FC236}">
                <a16:creationId xmlns:a16="http://schemas.microsoft.com/office/drawing/2014/main" id="{F90FBC19-641C-40C0-93BF-823C06A0BC7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备注占位符 2">
            <a:extLst>
              <a:ext uri="{FF2B5EF4-FFF2-40B4-BE49-F238E27FC236}">
                <a16:creationId xmlns:a16="http://schemas.microsoft.com/office/drawing/2014/main" id="{E5505FEC-DA2B-497D-B5AE-2C42F44ADE1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zh-CN"/>
          </a:p>
        </p:txBody>
      </p:sp>
      <p:sp>
        <p:nvSpPr>
          <p:cNvPr id="13316" name="灯片编号占位符 3">
            <a:extLst>
              <a:ext uri="{FF2B5EF4-FFF2-40B4-BE49-F238E27FC236}">
                <a16:creationId xmlns:a16="http://schemas.microsoft.com/office/drawing/2014/main" id="{5BC6DD3D-78BF-4434-9976-DBFEB8FD049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E1C41CB-80BD-425D-859A-72C99E833667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幻灯片图像占位符 1">
            <a:extLst>
              <a:ext uri="{FF2B5EF4-FFF2-40B4-BE49-F238E27FC236}">
                <a16:creationId xmlns:a16="http://schemas.microsoft.com/office/drawing/2014/main" id="{0D883512-4906-4642-806F-7B09CDE9A54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备注占位符 2">
            <a:extLst>
              <a:ext uri="{FF2B5EF4-FFF2-40B4-BE49-F238E27FC236}">
                <a16:creationId xmlns:a16="http://schemas.microsoft.com/office/drawing/2014/main" id="{44F85C2C-9882-49D9-9231-0B2D60C3482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zh-CN"/>
          </a:p>
        </p:txBody>
      </p:sp>
      <p:sp>
        <p:nvSpPr>
          <p:cNvPr id="15364" name="灯片编号占位符 3">
            <a:extLst>
              <a:ext uri="{FF2B5EF4-FFF2-40B4-BE49-F238E27FC236}">
                <a16:creationId xmlns:a16="http://schemas.microsoft.com/office/drawing/2014/main" id="{55F4B22F-9CA5-483A-82B1-B88DD5061A6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14F4C9F-BE50-43B3-BF04-F40CCEE746C8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oleObject" Target="../embeddings/oleObject4.bin"/><Relationship Id="rId4" Type="http://schemas.openxmlformats.org/officeDocument/2006/relationships/tags" Target="../tags/tag9.xml"/><Relationship Id="rId9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122363"/>
            <a:ext cx="103632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1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4" indent="0" algn="ctr">
              <a:buNone/>
              <a:defRPr sz="1600"/>
            </a:lvl4pPr>
            <a:lvl5pPr marL="1828605" indent="0" algn="ctr">
              <a:buNone/>
              <a:defRPr sz="1600"/>
            </a:lvl5pPr>
            <a:lvl6pPr marL="2285755" indent="0" algn="ctr">
              <a:buNone/>
              <a:defRPr sz="1600"/>
            </a:lvl6pPr>
            <a:lvl7pPr marL="2742907" indent="0" algn="ctr">
              <a:buNone/>
              <a:defRPr sz="1600"/>
            </a:lvl7pPr>
            <a:lvl8pPr marL="3200058" indent="0" algn="ctr">
              <a:buNone/>
              <a:defRPr sz="1600"/>
            </a:lvl8pPr>
            <a:lvl9pPr marL="3657209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3849E9-FFE0-4381-924C-700D3E371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8A398-4457-48C5-A1C2-F3F70B767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113277-399F-4301-BD8E-769781176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FE7955-6CBA-4AF9-AF94-0501BAC23FA1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84900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E73A2A-5ACD-420B-8B8D-8D0283EB2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B7C857-D3C4-49CE-88CF-C27ED540D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0F885B-9D99-4E76-9335-C6CFE682B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AF5DA2-F943-4DAF-93B8-E06697F81DF5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17753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1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3317F-22A8-4656-92DA-D1189353D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E9E209-06CF-4014-8D6D-A37532C75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6CEF76-032A-423E-BC08-29634FF9F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8C2B95-EA9C-4295-B39E-60EF51414C6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63075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01619C35-84A9-4672-9154-169C310C9900}"/>
              </a:ext>
            </a:extLst>
          </p:cNvPr>
          <p:cNvSpPr/>
          <p:nvPr userDrawn="1"/>
        </p:nvSpPr>
        <p:spPr>
          <a:xfrm>
            <a:off x="381000" y="6400800"/>
            <a:ext cx="11430000" cy="457200"/>
          </a:xfrm>
          <a:prstGeom prst="rect">
            <a:avLst/>
          </a:prstGeom>
          <a:solidFill>
            <a:srgbClr val="0238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905"/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666A174D-BC6A-4120-804A-666BE7F3C332}"/>
              </a:ext>
            </a:extLst>
          </p:cNvPr>
          <p:cNvCxnSpPr/>
          <p:nvPr userDrawn="1"/>
        </p:nvCxnSpPr>
        <p:spPr>
          <a:xfrm>
            <a:off x="457200" y="609600"/>
            <a:ext cx="11430000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7" name="文本占位符 12"/>
          <p:cNvSpPr>
            <a:spLocks noGrp="1"/>
          </p:cNvSpPr>
          <p:nvPr>
            <p:ph type="body" sz="quarter" idx="12"/>
          </p:nvPr>
        </p:nvSpPr>
        <p:spPr>
          <a:xfrm>
            <a:off x="533018" y="152124"/>
            <a:ext cx="5715393" cy="304826"/>
          </a:xfrm>
        </p:spPr>
        <p:txBody>
          <a:bodyPr>
            <a:noAutofit/>
          </a:bodyPr>
          <a:lstStyle>
            <a:lvl1pPr marL="0" indent="0" algn="l">
              <a:buNone/>
              <a:defRPr sz="1905" baseline="0">
                <a:solidFill>
                  <a:schemeClr val="bg1">
                    <a:lumMod val="50000"/>
                  </a:schemeClr>
                </a:solidFill>
                <a:latin typeface="Noto Sans S Chinese Regular" panose="020B0500000000000000" pitchFamily="34" charset="-122"/>
                <a:ea typeface="Noto Sans S Chinese Regular" panose="020B0500000000000000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2" name="文本占位符 12"/>
          <p:cNvSpPr>
            <a:spLocks noGrp="1"/>
          </p:cNvSpPr>
          <p:nvPr>
            <p:ph type="body" sz="quarter" idx="10"/>
          </p:nvPr>
        </p:nvSpPr>
        <p:spPr>
          <a:xfrm>
            <a:off x="11354161" y="6453466"/>
            <a:ext cx="456497" cy="300327"/>
          </a:xfrm>
        </p:spPr>
        <p:txBody>
          <a:bodyPr>
            <a:noAutofit/>
          </a:bodyPr>
          <a:lstStyle>
            <a:lvl1pPr marL="0" indent="0" algn="r">
              <a:buNone/>
              <a:defRPr sz="1693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690855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999D0F87-88A5-414B-9263-359929DF7FAB}"/>
              </a:ext>
            </a:extLst>
          </p:cNvPr>
          <p:cNvCxnSpPr/>
          <p:nvPr/>
        </p:nvCxnSpPr>
        <p:spPr>
          <a:xfrm>
            <a:off x="379413" y="685800"/>
            <a:ext cx="11431587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" name="矩形 4">
            <a:extLst>
              <a:ext uri="{FF2B5EF4-FFF2-40B4-BE49-F238E27FC236}">
                <a16:creationId xmlns:a16="http://schemas.microsoft.com/office/drawing/2014/main" id="{5789DEBD-B63C-4234-8DC0-A4B60117F732}"/>
              </a:ext>
            </a:extLst>
          </p:cNvPr>
          <p:cNvSpPr/>
          <p:nvPr/>
        </p:nvSpPr>
        <p:spPr>
          <a:xfrm>
            <a:off x="379413" y="6453188"/>
            <a:ext cx="11431587" cy="404812"/>
          </a:xfrm>
          <a:prstGeom prst="rect">
            <a:avLst/>
          </a:prstGeom>
          <a:solidFill>
            <a:srgbClr val="0238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905"/>
          </a:p>
        </p:txBody>
      </p:sp>
      <p:sp>
        <p:nvSpPr>
          <p:cNvPr id="10" name="文本占位符 12"/>
          <p:cNvSpPr>
            <a:spLocks noGrp="1"/>
          </p:cNvSpPr>
          <p:nvPr>
            <p:ph type="body" sz="quarter" idx="12"/>
          </p:nvPr>
        </p:nvSpPr>
        <p:spPr>
          <a:xfrm>
            <a:off x="304668" y="228330"/>
            <a:ext cx="5715393" cy="304826"/>
          </a:xfrm>
        </p:spPr>
        <p:txBody>
          <a:bodyPr>
            <a:noAutofit/>
          </a:bodyPr>
          <a:lstStyle>
            <a:lvl1pPr marL="0" indent="0" algn="l">
              <a:buNone/>
              <a:defRPr sz="1905" baseline="0">
                <a:solidFill>
                  <a:schemeClr val="bg1">
                    <a:lumMod val="50000"/>
                  </a:schemeClr>
                </a:solidFill>
                <a:latin typeface="Noto Sans S Chinese Regular" panose="020B0500000000000000" pitchFamily="34" charset="-122"/>
                <a:ea typeface="Noto Sans S Chinese Regular" panose="020B0500000000000000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文本占位符 12"/>
          <p:cNvSpPr>
            <a:spLocks noGrp="1"/>
          </p:cNvSpPr>
          <p:nvPr>
            <p:ph type="body" sz="quarter" idx="10"/>
          </p:nvPr>
        </p:nvSpPr>
        <p:spPr>
          <a:xfrm>
            <a:off x="11074285" y="6505570"/>
            <a:ext cx="736375" cy="300327"/>
          </a:xfrm>
        </p:spPr>
        <p:txBody>
          <a:bodyPr>
            <a:noAutofit/>
          </a:bodyPr>
          <a:lstStyle>
            <a:lvl1pPr marL="0" indent="0" algn="r">
              <a:buNone/>
              <a:defRPr sz="1693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751783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文本占位符 12"/>
          <p:cNvSpPr>
            <a:spLocks noGrp="1"/>
          </p:cNvSpPr>
          <p:nvPr>
            <p:ph type="body" sz="quarter" idx="10"/>
          </p:nvPr>
        </p:nvSpPr>
        <p:spPr>
          <a:xfrm>
            <a:off x="11354163" y="6453468"/>
            <a:ext cx="456496" cy="300327"/>
          </a:xfrm>
        </p:spPr>
        <p:txBody>
          <a:bodyPr>
            <a:normAutofit/>
          </a:bodyPr>
          <a:lstStyle>
            <a:lvl1pPr marL="0" indent="0" algn="r">
              <a:buNone/>
              <a:defRPr sz="1481">
                <a:solidFill>
                  <a:schemeClr val="bg1">
                    <a:lumMod val="50000"/>
                  </a:schemeClr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9859126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>
            <a:extLst>
              <a:ext uri="{FF2B5EF4-FFF2-40B4-BE49-F238E27FC236}">
                <a16:creationId xmlns:a16="http://schemas.microsoft.com/office/drawing/2014/main" id="{46871D5F-C565-408C-98B4-B4DE993269BB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5122" name="Rectangle 2" hidden="1">
                        <a:extLst>
                          <a:ext uri="{FF2B5EF4-FFF2-40B4-BE49-F238E27FC236}">
                            <a16:creationId xmlns:a16="http://schemas.microsoft.com/office/drawing/2014/main" id="{59AFB622-CEA9-491D-AA0F-2326EA3559B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>
            <a:extLst>
              <a:ext uri="{FF2B5EF4-FFF2-40B4-BE49-F238E27FC236}">
                <a16:creationId xmlns:a16="http://schemas.microsoft.com/office/drawing/2014/main" id="{F7FC09BD-7876-486C-9AFF-343B374527E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H="1">
            <a:off x="0" y="620713"/>
            <a:ext cx="12192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en-US" altLang="zh-CN" sz="2400">
              <a:solidFill>
                <a:srgbClr val="095095"/>
              </a:solidFill>
            </a:endParaRPr>
          </a:p>
        </p:txBody>
      </p:sp>
      <p:sp>
        <p:nvSpPr>
          <p:cNvPr id="6" name="Rectangle 22">
            <a:extLst>
              <a:ext uri="{FF2B5EF4-FFF2-40B4-BE49-F238E27FC236}">
                <a16:creationId xmlns:a16="http://schemas.microsoft.com/office/drawing/2014/main" id="{6EC5610A-D5DC-41FC-8379-2B996662601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321425"/>
            <a:ext cx="12192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folHlink"/>
              </a:solidFill>
              <a:latin typeface="+mn-lt"/>
              <a:ea typeface="+mn-ea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B5C421DF-43D4-40CA-8114-EA1444533C47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623675" y="6481763"/>
            <a:ext cx="150813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3BFF8CA2-2AB8-4C04-82DA-BB5B90630C69}" type="slidenum">
              <a:rPr lang="en-US" altLang="zh-CN" sz="1000">
                <a:solidFill>
                  <a:schemeClr val="bg1"/>
                </a:solidFill>
              </a:rPr>
              <a:pPr eaLnBrk="1" hangingPunct="1"/>
              <a:t>‹#›</a:t>
            </a:fld>
            <a:endParaRPr lang="en-US" altLang="zh-CN" sz="1000">
              <a:solidFill>
                <a:schemeClr val="bg1"/>
              </a:solidFill>
            </a:endParaRPr>
          </a:p>
        </p:txBody>
      </p:sp>
      <p:sp>
        <p:nvSpPr>
          <p:cNvPr id="8" name="Slide Number Line">
            <a:extLst>
              <a:ext uri="{FF2B5EF4-FFF2-40B4-BE49-F238E27FC236}">
                <a16:creationId xmlns:a16="http://schemas.microsoft.com/office/drawing/2014/main" id="{6D6F38D9-7278-4D64-958F-BB647CED6446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1539538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9" name="Rectangle 3" hidden="1">
            <a:extLst>
              <a:ext uri="{FF2B5EF4-FFF2-40B4-BE49-F238E27FC236}">
                <a16:creationId xmlns:a16="http://schemas.microsoft.com/office/drawing/2014/main" id="{5A469EEA-18D8-4E13-A206-B8971215B15A}"/>
              </a:ext>
            </a:extLst>
          </p:cNvPr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9526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r:id="rId10" imgW="0" imgH="0" progId="">
                  <p:embed/>
                </p:oleObj>
              </mc:Choice>
              <mc:Fallback>
                <p:oleObj r:id="rId10" imgW="0" imgH="0" progId="">
                  <p:embed/>
                  <p:pic>
                    <p:nvPicPr>
                      <p:cNvPr id="5127" name="Rectangle 3" hidden="1">
                        <a:extLst>
                          <a:ext uri="{FF2B5EF4-FFF2-40B4-BE49-F238E27FC236}">
                            <a16:creationId xmlns:a16="http://schemas.microsoft.com/office/drawing/2014/main" id="{60016E4A-F4AA-4E46-8AC4-47D01A55E4B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27"/>
          <p:cNvSpPr>
            <a:spLocks noGrp="1"/>
          </p:cNvSpPr>
          <p:nvPr>
            <p:ph type="title"/>
          </p:nvPr>
        </p:nvSpPr>
        <p:spPr>
          <a:xfrm>
            <a:off x="658449" y="747942"/>
            <a:ext cx="10880967" cy="72916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tabLst>
                <a:tab pos="8791575" algn="r"/>
              </a:tabLs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658449" y="1717675"/>
            <a:ext cx="10880967" cy="2241550"/>
          </a:xfrm>
        </p:spPr>
        <p:txBody>
          <a:bodyPr/>
          <a:lstStyle>
            <a:lvl1pPr>
              <a:tabLst>
                <a:tab pos="8791575" algn="r"/>
              </a:tabLst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45074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>
            <a:extLst>
              <a:ext uri="{FF2B5EF4-FFF2-40B4-BE49-F238E27FC236}">
                <a16:creationId xmlns:a16="http://schemas.microsoft.com/office/drawing/2014/main" id="{09DA5F5B-286C-4346-9C4F-DD45608BC94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26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6146" name="Rectangle 2" hidden="1">
                        <a:extLst>
                          <a:ext uri="{FF2B5EF4-FFF2-40B4-BE49-F238E27FC236}">
                            <a16:creationId xmlns:a16="http://schemas.microsoft.com/office/drawing/2014/main" id="{1272D12F-6A10-4ECC-B60E-B15347CCD2C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B7D20DF2-3668-4516-AE86-6C0CACC7E5F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H="1">
            <a:off x="0" y="620713"/>
            <a:ext cx="12192000" cy="920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002664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en-US" altLang="zh-CN" sz="2400">
              <a:solidFill>
                <a:srgbClr val="095095"/>
              </a:solidFill>
            </a:endParaRPr>
          </a:p>
        </p:txBody>
      </p:sp>
      <p:sp>
        <p:nvSpPr>
          <p:cNvPr id="5" name="Rectangle 22">
            <a:extLst>
              <a:ext uri="{FF2B5EF4-FFF2-40B4-BE49-F238E27FC236}">
                <a16:creationId xmlns:a16="http://schemas.microsoft.com/office/drawing/2014/main" id="{67491D90-D41D-4E55-A5B6-48E0FFB0B72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6321425"/>
            <a:ext cx="12192000" cy="53657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eaLnBrk="1" hangingPunct="1">
              <a:lnSpc>
                <a:spcPct val="90000"/>
              </a:lnSpc>
              <a:defRPr/>
            </a:pPr>
            <a:endParaRPr lang="en-US" sz="2400">
              <a:solidFill>
                <a:srgbClr val="C1C0BF"/>
              </a:solidFill>
              <a:latin typeface="+mn-lt"/>
              <a:ea typeface="+mn-ea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AC7B5AD-3AF0-48CB-9EC4-1FFC81D7C92B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623675" y="6481763"/>
            <a:ext cx="150813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eaLnBrk="1" hangingPunct="1">
              <a:defRPr/>
            </a:pPr>
            <a:fld id="{E3CCD08A-7FBF-423C-8D15-3584BA311FE9}" type="slidenum">
              <a:rPr lang="en-US" sz="100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rPr>
              <a:pPr eaLnBrk="1" hangingPunct="1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" name="Slide Number Line">
            <a:extLst>
              <a:ext uri="{FF2B5EF4-FFF2-40B4-BE49-F238E27FC236}">
                <a16:creationId xmlns:a16="http://schemas.microsoft.com/office/drawing/2014/main" id="{40B1A454-DAE5-4105-881B-8183442B135B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1539538" y="6497638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zh-CN" altLang="en-US"/>
          </a:p>
        </p:txBody>
      </p:sp>
      <p:graphicFrame>
        <p:nvGraphicFramePr>
          <p:cNvPr id="9" name="Rectangle 3" hidden="1">
            <a:extLst>
              <a:ext uri="{FF2B5EF4-FFF2-40B4-BE49-F238E27FC236}">
                <a16:creationId xmlns:a16="http://schemas.microsoft.com/office/drawing/2014/main" id="{C253BA17-B57C-451D-A68F-002933C39A74}"/>
              </a:ext>
            </a:extLst>
          </p:cNvPr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9526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r:id="rId10" imgW="0" imgH="0" progId="">
                  <p:embed/>
                </p:oleObj>
              </mc:Choice>
              <mc:Fallback>
                <p:oleObj r:id="rId10" imgW="0" imgH="0" progId="">
                  <p:embed/>
                  <p:pic>
                    <p:nvPicPr>
                      <p:cNvPr id="6151" name="Rectangle 3" hidden="1">
                        <a:extLst>
                          <a:ext uri="{FF2B5EF4-FFF2-40B4-BE49-F238E27FC236}">
                            <a16:creationId xmlns:a16="http://schemas.microsoft.com/office/drawing/2014/main" id="{A6B7D0A1-2E66-4B62-A558-10DE63317DC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263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27"/>
          <p:cNvSpPr>
            <a:spLocks noGrp="1"/>
          </p:cNvSpPr>
          <p:nvPr>
            <p:ph type="title"/>
          </p:nvPr>
        </p:nvSpPr>
        <p:spPr>
          <a:xfrm>
            <a:off x="658449" y="747942"/>
            <a:ext cx="10880967" cy="729167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tabLst>
                <a:tab pos="8791575" algn="r"/>
              </a:tabLst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7871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82A478A1-8A1B-429C-BEFE-D99500765594}"/>
              </a:ext>
            </a:extLst>
          </p:cNvPr>
          <p:cNvSpPr/>
          <p:nvPr userDrawn="1"/>
        </p:nvSpPr>
        <p:spPr>
          <a:xfrm>
            <a:off x="381000" y="6400800"/>
            <a:ext cx="11430000" cy="457200"/>
          </a:xfrm>
          <a:prstGeom prst="rect">
            <a:avLst/>
          </a:prstGeom>
          <a:solidFill>
            <a:srgbClr val="0238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905"/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8BCDAEDE-6C9B-478F-957C-C50A79C733A7}"/>
              </a:ext>
            </a:extLst>
          </p:cNvPr>
          <p:cNvCxnSpPr/>
          <p:nvPr userDrawn="1"/>
        </p:nvCxnSpPr>
        <p:spPr>
          <a:xfrm>
            <a:off x="457200" y="609600"/>
            <a:ext cx="11430000" cy="0"/>
          </a:xfrm>
          <a:prstGeom prst="line">
            <a:avLst/>
          </a:prstGeom>
          <a:ln w="9525">
            <a:solidFill>
              <a:srgbClr val="023894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2" name="文本占位符 12"/>
          <p:cNvSpPr>
            <a:spLocks noGrp="1"/>
          </p:cNvSpPr>
          <p:nvPr>
            <p:ph type="body" sz="quarter" idx="10"/>
          </p:nvPr>
        </p:nvSpPr>
        <p:spPr>
          <a:xfrm>
            <a:off x="11354161" y="6453466"/>
            <a:ext cx="456497" cy="300327"/>
          </a:xfrm>
        </p:spPr>
        <p:txBody>
          <a:bodyPr>
            <a:noAutofit/>
          </a:bodyPr>
          <a:lstStyle>
            <a:lvl1pPr marL="0" indent="0" algn="r">
              <a:buNone/>
              <a:defRPr sz="1693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53734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4098C-0960-4C53-8E98-6E8224067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199FA4-4BD1-48B6-A78E-2C32E76B4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E0DF98-6780-4EFA-8F39-710A436A8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420363-B97A-4111-BA58-5B64B352FF4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512217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5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B5C1D3-E387-44D8-9136-29744744F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DE5F0B-771D-460C-AB46-D9458AF6D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A98085-636C-456A-A5E8-274A1A3E7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BCBB28-11D1-43A4-B40C-D21F70D0C8A5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1061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4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181600" cy="435133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5D9B1ED8-1838-49B6-83C2-A70AA82FF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BB95AE1-2CD5-4F43-9756-2EBE13381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08C6468-6207-4340-A43E-2B1FDFEE7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86C89B-D0B8-4B1D-A4F3-F00FAC4DAD1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87929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8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1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1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4" indent="0">
              <a:buNone/>
              <a:defRPr sz="1600" b="1"/>
            </a:lvl4pPr>
            <a:lvl5pPr marL="1828605" indent="0">
              <a:buNone/>
              <a:defRPr sz="1600" b="1"/>
            </a:lvl5pPr>
            <a:lvl6pPr marL="2285755" indent="0">
              <a:buNone/>
              <a:defRPr sz="1600" b="1"/>
            </a:lvl6pPr>
            <a:lvl7pPr marL="2742907" indent="0">
              <a:buNone/>
              <a:defRPr sz="1600" b="1"/>
            </a:lvl7pPr>
            <a:lvl8pPr marL="3200058" indent="0">
              <a:buNone/>
              <a:defRPr sz="1600" b="1"/>
            </a:lvl8pPr>
            <a:lvl9pPr marL="3657209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1" y="2505076"/>
            <a:ext cx="5157787" cy="368458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1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4" indent="0">
              <a:buNone/>
              <a:defRPr sz="1600" b="1"/>
            </a:lvl4pPr>
            <a:lvl5pPr marL="1828605" indent="0">
              <a:buNone/>
              <a:defRPr sz="1600" b="1"/>
            </a:lvl5pPr>
            <a:lvl6pPr marL="2285755" indent="0">
              <a:buNone/>
              <a:defRPr sz="1600" b="1"/>
            </a:lvl6pPr>
            <a:lvl7pPr marL="2742907" indent="0">
              <a:buNone/>
              <a:defRPr sz="1600" b="1"/>
            </a:lvl7pPr>
            <a:lvl8pPr marL="3200058" indent="0">
              <a:buNone/>
              <a:defRPr sz="1600" b="1"/>
            </a:lvl8pPr>
            <a:lvl9pPr marL="3657209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F5EC8B16-C0E2-4750-8466-7CC35C8255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AB4E28C-BF3D-49A0-9C8F-797F67D79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7CBE4B7-9D85-470F-900B-2918158BE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1C2B23-C7E4-43BC-B252-EAD4EA0043B2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16778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5E55941-51D2-42FE-99C6-7D29585AB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B8C83780-E6E9-4B23-8E18-94E08BB8E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30D1DE2-2F16-46A1-B866-CAB068EEA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7491A1-D127-4323-AFED-6740C4B836A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7855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264E6A3-9271-419F-978E-B0A1A1E80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7CA01E0-DA60-4B78-BA4C-01D300CA3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B2DC881-8458-4AFB-8A65-6A3B0DFC2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77475B-7FA6-428C-8BDA-A62231204107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40587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1" indent="0">
              <a:buNone/>
              <a:defRPr sz="1400"/>
            </a:lvl2pPr>
            <a:lvl3pPr marL="914303" indent="0">
              <a:buNone/>
              <a:defRPr sz="1200"/>
            </a:lvl3pPr>
            <a:lvl4pPr marL="1371454" indent="0">
              <a:buNone/>
              <a:defRPr sz="1000"/>
            </a:lvl4pPr>
            <a:lvl5pPr marL="1828605" indent="0">
              <a:buNone/>
              <a:defRPr sz="1000"/>
            </a:lvl5pPr>
            <a:lvl6pPr marL="2285755" indent="0">
              <a:buNone/>
              <a:defRPr sz="1000"/>
            </a:lvl6pPr>
            <a:lvl7pPr marL="2742907" indent="0">
              <a:buNone/>
              <a:defRPr sz="1000"/>
            </a:lvl7pPr>
            <a:lvl8pPr marL="3200058" indent="0">
              <a:buNone/>
              <a:defRPr sz="1000"/>
            </a:lvl8pPr>
            <a:lvl9pPr marL="3657209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4348863-EF99-43F6-A6DD-7CB428406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2BBBC60-394D-4224-98B5-1BA485F71E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BAAD8C6-6ABE-4B3C-A91E-52940675C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E2046-E023-49EE-B770-317BF53EB86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5413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51" indent="0">
              <a:buNone/>
              <a:defRPr sz="2800"/>
            </a:lvl2pPr>
            <a:lvl3pPr marL="914303" indent="0">
              <a:buNone/>
              <a:defRPr sz="2400"/>
            </a:lvl3pPr>
            <a:lvl4pPr marL="1371454" indent="0">
              <a:buNone/>
              <a:defRPr sz="2000"/>
            </a:lvl4pPr>
            <a:lvl5pPr marL="1828605" indent="0">
              <a:buNone/>
              <a:defRPr sz="2000"/>
            </a:lvl5pPr>
            <a:lvl6pPr marL="2285755" indent="0">
              <a:buNone/>
              <a:defRPr sz="2000"/>
            </a:lvl6pPr>
            <a:lvl7pPr marL="2742907" indent="0">
              <a:buNone/>
              <a:defRPr sz="2000"/>
            </a:lvl7pPr>
            <a:lvl8pPr marL="3200058" indent="0">
              <a:buNone/>
              <a:defRPr sz="2000"/>
            </a:lvl8pPr>
            <a:lvl9pPr marL="3657209" indent="0">
              <a:buNone/>
              <a:defRPr sz="2000"/>
            </a:lvl9pPr>
          </a:lstStyle>
          <a:p>
            <a:pPr lvl="0"/>
            <a:r>
              <a:rPr lang="zh-CN" altLang="en-US" noProof="0"/>
              <a:t>单击图标添加图片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1" indent="0">
              <a:buNone/>
              <a:defRPr sz="1400"/>
            </a:lvl2pPr>
            <a:lvl3pPr marL="914303" indent="0">
              <a:buNone/>
              <a:defRPr sz="1200"/>
            </a:lvl3pPr>
            <a:lvl4pPr marL="1371454" indent="0">
              <a:buNone/>
              <a:defRPr sz="1000"/>
            </a:lvl4pPr>
            <a:lvl5pPr marL="1828605" indent="0">
              <a:buNone/>
              <a:defRPr sz="1000"/>
            </a:lvl5pPr>
            <a:lvl6pPr marL="2285755" indent="0">
              <a:buNone/>
              <a:defRPr sz="1000"/>
            </a:lvl6pPr>
            <a:lvl7pPr marL="2742907" indent="0">
              <a:buNone/>
              <a:defRPr sz="1000"/>
            </a:lvl7pPr>
            <a:lvl8pPr marL="3200058" indent="0">
              <a:buNone/>
              <a:defRPr sz="1000"/>
            </a:lvl8pPr>
            <a:lvl9pPr marL="3657209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B324829-C779-4819-88F2-495070A59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C5724A4-79BF-4772-9608-CB5611285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08ACC77-5FBD-4F93-A6A0-22A210DB5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18CDF2-90A3-4C81-92B7-20C3C0CC1CD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2533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279D4B2D-C9E4-4D10-B48F-5B4E572B13A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  <a:endParaRPr lang="en-US" altLang="zh-CN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D12B4207-4DE7-4266-A20D-D5A7ADE3396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altLang="zh-C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1F2AA1-904B-4F42-B729-5AA541F30C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95494D-31BC-4424-A870-529ED45C88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82F43B-873A-42F2-9034-48BE960A84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79C6F48A-42AE-4DF2-9677-7D081DD0103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</p:sldLayoutIdLst>
  <p:hf hdr="0" ftr="0" dt="0"/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宋体" panose="02010600030101010101" pitchFamily="2" charset="-122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332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3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4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4" indent="-228575" algn="l" defTabSz="914303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156F7705-5168-424C-BEB5-FD17274BBA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53800" y="6453188"/>
            <a:ext cx="457200" cy="300037"/>
          </a:xfrm>
        </p:spPr>
        <p:txBody>
          <a:bodyPr rtlCol="0"/>
          <a:lstStyle/>
          <a:p>
            <a:pPr defTabSz="914303" fontAlgn="auto"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649B579C-ABFE-4BAD-AE02-C33BD8A03083}"/>
              </a:ext>
            </a:extLst>
          </p:cNvPr>
          <p:cNvSpPr/>
          <p:nvPr/>
        </p:nvSpPr>
        <p:spPr>
          <a:xfrm>
            <a:off x="550863" y="836613"/>
            <a:ext cx="10729912" cy="53546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b="1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案例脱敏原则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  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342900" indent="-342900" algn="just" eaLnBrk="1" fontAlgn="auto" hangingPunct="1">
              <a:spcBef>
                <a:spcPts val="0"/>
              </a:spcBef>
              <a:spcAft>
                <a:spcPts val="0"/>
              </a:spcAft>
              <a:buFont typeface="+mj-ea"/>
              <a:buAutoNum type="ea1ChsPlain"/>
              <a:defRPr/>
            </a:pP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一切可以使读者明确将案例与相关地区公司、当事员工、合作方、检查人相联系的字眼不应出现在案例中，具体来说：</a:t>
            </a:r>
          </a:p>
          <a:p>
            <a:pPr marL="742950" lvl="1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龙湖或其他与龙湖相关的字眼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；</a:t>
            </a:r>
          </a:p>
          <a:p>
            <a:pPr marL="742950" lvl="1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地区公司名称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可以以甲地区公司、</a:t>
            </a:r>
            <a:r>
              <a:rPr lang="en-US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A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地区公司、某地区公司指代；</a:t>
            </a:r>
          </a:p>
          <a:p>
            <a:pPr marL="742950" lvl="1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具体项目名称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包括可以使读者联想到龙湖的特有名称，如原著、天街、冠寓等，可以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花园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项目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自持项目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xx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长租项目等指代；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742950" lvl="1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具体员工的姓名，但可以保留</a:t>
            </a:r>
            <a:r>
              <a:rPr lang="zh-CN" altLang="en-US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岗位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如“项目负责人吴亦凡”，保留“项目负责人”即可；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742950" lvl="1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合作方、供方的具体名称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可以甲、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A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、某等指代。特殊情况下，如不出现合作方的具体名称无法清楚说明问题的（例如品牌假冒），可以保留；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742950" lvl="1" indent="-285750" algn="just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zh-CN" altLang="zh-CN" b="1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不应出现检查人的姓名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，但可以保留团队名称，如财务团队</a:t>
            </a:r>
            <a:r>
              <a:rPr lang="zh-CN" altLang="en-US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、内审团队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533400" indent="266700"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 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400050" indent="-400050" algn="just" eaLnBrk="1" fontAlgn="auto" hangingPunct="1">
              <a:spcBef>
                <a:spcPts val="0"/>
              </a:spcBef>
              <a:spcAft>
                <a:spcPts val="0"/>
              </a:spcAft>
              <a:buFont typeface="+mj-ea"/>
              <a:buAutoNum type="ea1JpnChsDbPeriod" startAt="2"/>
              <a:defRPr/>
            </a:pP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涉及舞弊的事项，应在调查结束并进行处理后，方可整理为案例。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342900" indent="-342900" algn="just" eaLnBrk="1" fontAlgn="auto" hangingPunct="1">
              <a:spcBef>
                <a:spcPts val="0"/>
              </a:spcBef>
              <a:spcAft>
                <a:spcPts val="0"/>
              </a:spcAft>
              <a:buFont typeface="+mj-ea"/>
              <a:buAutoNum type="ea1JpnChsDbPeriod" startAt="2"/>
              <a:defRPr/>
            </a:pP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涉及</a:t>
            </a:r>
            <a:r>
              <a:rPr lang="zh-CN" altLang="zh-CN" kern="100" dirty="0">
                <a:solidFill>
                  <a:srgbClr val="FF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重大工程质量、重大决策等问题，一事一议，原则上不应在当年作为公开案例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如不确定是否涉及，可咨询内审部地区</a:t>
            </a:r>
            <a:r>
              <a:rPr lang="en-US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BP</a:t>
            </a: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</a:t>
            </a:r>
            <a:endParaRPr lang="zh-CN" altLang="zh-CN" kern="100" dirty="0">
              <a:latin typeface="华文楷体" panose="02010600040101010101" pitchFamily="2" charset="-122"/>
              <a:ea typeface="华文楷体" panose="02010600040101010101" pitchFamily="2" charset="-122"/>
              <a:cs typeface="Times New Roman" panose="02020603050405020304" pitchFamily="18" charset="0"/>
            </a:endParaRPr>
          </a:p>
          <a:p>
            <a:pPr marL="342900" indent="-342900" algn="just" eaLnBrk="1" fontAlgn="auto" hangingPunct="1">
              <a:spcBef>
                <a:spcPts val="0"/>
              </a:spcBef>
              <a:spcAft>
                <a:spcPts val="0"/>
              </a:spcAft>
              <a:buFont typeface="+mj-ea"/>
              <a:buAutoNum type="ea1JpnChsDbPeriod" startAt="2"/>
              <a:defRPr/>
            </a:pPr>
            <a:r>
              <a:rPr lang="zh-CN" altLang="zh-CN" kern="100" dirty="0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涉及龙湖商业机密的信息，如明示可能违反集团相关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规定的，可不在案例中明示。如不确定是否涉及，可咨询内审部地区</a:t>
            </a:r>
            <a:r>
              <a:rPr lang="en-US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BP</a:t>
            </a:r>
            <a:r>
              <a:rPr lang="zh-CN" altLang="zh-CN" kern="100" dirty="0">
                <a:latin typeface="华文楷体" panose="02010600040101010101" pitchFamily="2" charset="-122"/>
                <a:ea typeface="华文楷体" panose="02010600040101010101" pitchFamily="2" charset="-122"/>
                <a:cs typeface="Times New Roman" panose="02020603050405020304" pitchFamily="18" charset="0"/>
              </a:rPr>
              <a:t>。</a:t>
            </a:r>
          </a:p>
        </p:txBody>
      </p:sp>
      <p:graphicFrame>
        <p:nvGraphicFramePr>
          <p:cNvPr id="4" name="图示 3">
            <a:extLst>
              <a:ext uri="{FF2B5EF4-FFF2-40B4-BE49-F238E27FC236}">
                <a16:creationId xmlns:a16="http://schemas.microsoft.com/office/drawing/2014/main" id="{231A8D89-9A4F-4BEE-AF9B-E440116A03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2562898"/>
              </p:ext>
            </p:extLst>
          </p:nvPr>
        </p:nvGraphicFramePr>
        <p:xfrm>
          <a:off x="2135560" y="1180279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15">
            <a:extLst>
              <a:ext uri="{FF2B5EF4-FFF2-40B4-BE49-F238E27FC236}">
                <a16:creationId xmlns:a16="http://schemas.microsoft.com/office/drawing/2014/main" id="{343F72C4-CE79-47EC-B379-E8D19FFBC171}"/>
              </a:ext>
            </a:extLst>
          </p:cNvPr>
          <p:cNvSpPr txBox="1"/>
          <p:nvPr/>
        </p:nvSpPr>
        <p:spPr>
          <a:xfrm>
            <a:off x="638175" y="2163763"/>
            <a:ext cx="10429875" cy="16256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eaLnBrk="1" hangingPunct="1">
              <a:defRPr/>
            </a:pPr>
            <a:r>
              <a:rPr lang="en-US" altLang="zh-CN" sz="1800" b="0" dirty="0"/>
              <a:t>【</a:t>
            </a:r>
            <a:r>
              <a:rPr lang="zh-CN" altLang="en-US" sz="1800" b="0" dirty="0"/>
              <a:t>描述问题</a:t>
            </a:r>
            <a:r>
              <a:rPr lang="en-US" altLang="zh-CN" sz="1800" b="0" dirty="0"/>
              <a:t>】</a:t>
            </a:r>
            <a:r>
              <a:rPr lang="zh-CN" altLang="en-US" sz="1800" b="0" dirty="0"/>
              <a:t>。</a:t>
            </a:r>
            <a:endParaRPr lang="en-US" altLang="zh-CN" sz="1800" b="0" dirty="0"/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对问题的分点描述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dirty="0">
                <a:latin typeface="华文楷体" panose="02010600040101010101" pitchFamily="2" charset="-122"/>
                <a:ea typeface="华文楷体" panose="02010600040101010101" pitchFamily="2" charset="-122"/>
              </a:rPr>
              <a:t>对问题的分点描述</a:t>
            </a:r>
            <a:r>
              <a:rPr lang="en-US" altLang="zh-CN" dirty="0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</a:p>
          <a:p>
            <a:pPr eaLnBrk="1" hangingPunct="1">
              <a:defRPr/>
            </a:pPr>
            <a:endParaRPr lang="en-US" altLang="zh-CN" sz="2000" b="0" dirty="0"/>
          </a:p>
          <a:p>
            <a:pPr eaLnBrk="1" hangingPunct="1">
              <a:defRPr/>
            </a:pPr>
            <a:r>
              <a:rPr lang="en-US" altLang="zh-CN" sz="1800" b="0" dirty="0"/>
              <a:t>【</a:t>
            </a:r>
            <a:r>
              <a:rPr lang="zh-CN" altLang="en-US" sz="1800" b="0" dirty="0"/>
              <a:t>简要描述造成的影响</a:t>
            </a:r>
            <a:r>
              <a:rPr lang="en-US" altLang="zh-CN" sz="1800" b="0" dirty="0"/>
              <a:t>】</a:t>
            </a:r>
            <a:r>
              <a:rPr lang="zh-CN" altLang="en-US" sz="1800" dirty="0"/>
              <a:t>。</a:t>
            </a:r>
            <a:endParaRPr lang="en-US" altLang="zh-CN" sz="1800" dirty="0"/>
          </a:p>
        </p:txBody>
      </p:sp>
      <p:sp>
        <p:nvSpPr>
          <p:cNvPr id="25" name="TextBox 19">
            <a:extLst>
              <a:ext uri="{FF2B5EF4-FFF2-40B4-BE49-F238E27FC236}">
                <a16:creationId xmlns:a16="http://schemas.microsoft.com/office/drawing/2014/main" id="{51C17DCF-5084-46CE-A4B5-AEDC14685410}"/>
              </a:ext>
            </a:extLst>
          </p:cNvPr>
          <p:cNvSpPr txBox="1"/>
          <p:nvPr/>
        </p:nvSpPr>
        <p:spPr>
          <a:xfrm>
            <a:off x="635000" y="4392613"/>
            <a:ext cx="10437813" cy="33178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20000"/>
              </a:lnSpc>
              <a:defRPr/>
            </a:pPr>
            <a:r>
              <a:rPr lang="en-US" altLang="zh-CN" b="1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【】</a:t>
            </a:r>
            <a:r>
              <a:rPr lang="zh-CN" altLang="en-US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。</a:t>
            </a:r>
            <a:endParaRPr lang="en-US" altLang="zh-CN" dirty="0">
              <a:solidFill>
                <a:srgbClr val="000000"/>
              </a:solidFill>
              <a:latin typeface="华文楷体" pitchFamily="2" charset="-122"/>
              <a:ea typeface="华文楷体" pitchFamily="2" charset="-122"/>
              <a:cs typeface="Arial" pitchFamily="34" charset="0"/>
            </a:endParaRPr>
          </a:p>
        </p:txBody>
      </p:sp>
      <p:sp>
        <p:nvSpPr>
          <p:cNvPr id="2" name="文本占位符 1">
            <a:extLst>
              <a:ext uri="{FF2B5EF4-FFF2-40B4-BE49-F238E27FC236}">
                <a16:creationId xmlns:a16="http://schemas.microsoft.com/office/drawing/2014/main" id="{E95120EC-1C5B-425C-B422-D35C3BA47B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53800" y="6453188"/>
            <a:ext cx="457200" cy="300037"/>
          </a:xfrm>
        </p:spPr>
        <p:txBody>
          <a:bodyPr rtlCol="0"/>
          <a:lstStyle/>
          <a:p>
            <a:pPr defTabSz="914303" fontAlgn="auto"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2293" name="TextBox 13">
            <a:extLst>
              <a:ext uri="{FF2B5EF4-FFF2-40B4-BE49-F238E27FC236}">
                <a16:creationId xmlns:a16="http://schemas.microsoft.com/office/drawing/2014/main" id="{B43E0107-2C23-452F-A19E-A18B34EB1A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000" y="225425"/>
            <a:ext cx="9771063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案例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编号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：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航道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+</a:t>
            </a: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职能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+</a:t>
            </a: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案例标题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  <a:endParaRPr lang="zh-CN" altLang="en-US" sz="2200" b="1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1" name="Text Box 6">
            <a:extLst>
              <a:ext uri="{FF2B5EF4-FFF2-40B4-BE49-F238E27FC236}">
                <a16:creationId xmlns:a16="http://schemas.microsoft.com/office/drawing/2014/main" id="{160648C7-786C-4E5F-A73C-4E59B7B31E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8998" y="3944310"/>
            <a:ext cx="2350658" cy="420794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 eaLnBrk="1" hangingPunct="1">
              <a:spcAft>
                <a:spcPts val="0"/>
              </a:spcAft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原因分析：（如适用）</a:t>
            </a:r>
          </a:p>
        </p:txBody>
      </p:sp>
      <p:sp>
        <p:nvSpPr>
          <p:cNvPr id="6" name="线形标注 1(带边框和强调线) 5">
            <a:extLst>
              <a:ext uri="{FF2B5EF4-FFF2-40B4-BE49-F238E27FC236}">
                <a16:creationId xmlns:a16="http://schemas.microsoft.com/office/drawing/2014/main" id="{AF28E559-816B-46AD-8797-613579568E96}"/>
              </a:ext>
            </a:extLst>
          </p:cNvPr>
          <p:cNvSpPr/>
          <p:nvPr/>
        </p:nvSpPr>
        <p:spPr>
          <a:xfrm>
            <a:off x="7032625" y="26988"/>
            <a:ext cx="2938463" cy="665162"/>
          </a:xfrm>
          <a:prstGeom prst="accentBorderCallout1">
            <a:avLst>
              <a:gd name="adj1" fmla="val 18750"/>
              <a:gd name="adj2" fmla="val -8333"/>
              <a:gd name="adj3" fmla="val 47621"/>
              <a:gd name="adj4" fmla="val -4798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0000"/>
                </a:solidFill>
              </a:rPr>
              <a:t>标题应尽量简短说明存在的内控问题</a:t>
            </a:r>
          </a:p>
        </p:txBody>
      </p:sp>
      <p:sp>
        <p:nvSpPr>
          <p:cNvPr id="15" name="Text Box 6">
            <a:extLst>
              <a:ext uri="{FF2B5EF4-FFF2-40B4-BE49-F238E27FC236}">
                <a16:creationId xmlns:a16="http://schemas.microsoft.com/office/drawing/2014/main" id="{CA8E5BA1-923C-4347-89CD-1BBD372B2D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392" y="1843546"/>
            <a:ext cx="1372928" cy="332653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 eaLnBrk="1" hangingPunct="1">
              <a:spcAft>
                <a:spcPts val="0"/>
              </a:spcAft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事件经过：</a:t>
            </a:r>
          </a:p>
        </p:txBody>
      </p:sp>
      <p:sp>
        <p:nvSpPr>
          <p:cNvPr id="13" name="线形标注 1(带边框和强调线) 12">
            <a:extLst>
              <a:ext uri="{FF2B5EF4-FFF2-40B4-BE49-F238E27FC236}">
                <a16:creationId xmlns:a16="http://schemas.microsoft.com/office/drawing/2014/main" id="{CD392EE0-9201-4181-8E16-8BF59F296BCC}"/>
              </a:ext>
            </a:extLst>
          </p:cNvPr>
          <p:cNvSpPr/>
          <p:nvPr/>
        </p:nvSpPr>
        <p:spPr>
          <a:xfrm>
            <a:off x="7081838" y="2060575"/>
            <a:ext cx="3402012" cy="1247775"/>
          </a:xfrm>
          <a:prstGeom prst="accentBorderCallout1">
            <a:avLst>
              <a:gd name="adj1" fmla="val 18750"/>
              <a:gd name="adj2" fmla="val -8333"/>
              <a:gd name="adj3" fmla="val 17682"/>
              <a:gd name="adj4" fmla="val -14539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rgbClr val="FF0000"/>
                </a:solidFill>
              </a:rPr>
              <a:t>1</a:t>
            </a:r>
            <a:r>
              <a:rPr lang="zh-CN" altLang="en-US" sz="1600" dirty="0">
                <a:solidFill>
                  <a:srgbClr val="FF0000"/>
                </a:solidFill>
              </a:rPr>
              <a:t>）在不违反脱敏和保密原则的前提下，尽量说明具体数字和情形；</a:t>
            </a:r>
            <a:endParaRPr lang="en-US" altLang="zh-CN" sz="1600" dirty="0">
              <a:solidFill>
                <a:srgbClr val="FF0000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dirty="0">
                <a:solidFill>
                  <a:srgbClr val="FF0000"/>
                </a:solidFill>
              </a:rPr>
              <a:t>2</a:t>
            </a:r>
            <a:r>
              <a:rPr lang="zh-CN" altLang="en-US" sz="1600" dirty="0">
                <a:solidFill>
                  <a:srgbClr val="FF0000"/>
                </a:solidFill>
              </a:rPr>
              <a:t>）如照片或表格能更好的说明问题和影响，请插入照片和表格。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04A1E650-1B5B-4F34-99BA-85D5862B9F5D}"/>
              </a:ext>
            </a:extLst>
          </p:cNvPr>
          <p:cNvCxnSpPr/>
          <p:nvPr/>
        </p:nvCxnSpPr>
        <p:spPr>
          <a:xfrm flipV="1">
            <a:off x="2855913" y="2976563"/>
            <a:ext cx="3887787" cy="45085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线形标注 1(带边框和强调线) 15">
            <a:extLst>
              <a:ext uri="{FF2B5EF4-FFF2-40B4-BE49-F238E27FC236}">
                <a16:creationId xmlns:a16="http://schemas.microsoft.com/office/drawing/2014/main" id="{A3D7E1DE-9FE2-4AC5-941F-E955C74385F6}"/>
              </a:ext>
            </a:extLst>
          </p:cNvPr>
          <p:cNvSpPr/>
          <p:nvPr/>
        </p:nvSpPr>
        <p:spPr>
          <a:xfrm>
            <a:off x="7053263" y="3860800"/>
            <a:ext cx="3335337" cy="647700"/>
          </a:xfrm>
          <a:prstGeom prst="accentBorderCallout1">
            <a:avLst>
              <a:gd name="adj1" fmla="val 18750"/>
              <a:gd name="adj2" fmla="val -8333"/>
              <a:gd name="adj3" fmla="val 103791"/>
              <a:gd name="adj4" fmla="val -18023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0000"/>
                </a:solidFill>
              </a:rPr>
              <a:t>说明导致问题产生的原因。</a:t>
            </a:r>
          </a:p>
        </p:txBody>
      </p:sp>
      <p:sp>
        <p:nvSpPr>
          <p:cNvPr id="18" name="TextBox 15">
            <a:extLst>
              <a:ext uri="{FF2B5EF4-FFF2-40B4-BE49-F238E27FC236}">
                <a16:creationId xmlns:a16="http://schemas.microsoft.com/office/drawing/2014/main" id="{B23CEADB-1E29-4656-8C9B-AD00981C03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8175" y="1012825"/>
            <a:ext cx="10429875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altLang="zh-CN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【</a:t>
            </a:r>
            <a:r>
              <a:rPr lang="zh-CN" altLang="en-US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描述</a:t>
            </a:r>
            <a:r>
              <a:rPr lang="en-US" altLang="zh-CN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】</a:t>
            </a:r>
            <a:r>
              <a:rPr lang="zh-CN" altLang="en-US">
                <a:solidFill>
                  <a:srgbClr val="000000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anose="020B0604020202020204" pitchFamily="34" charset="0"/>
              </a:rPr>
              <a:t>。</a:t>
            </a:r>
            <a:endParaRPr lang="en-US" altLang="zh-CN">
              <a:solidFill>
                <a:srgbClr val="000000"/>
              </a:solidFill>
              <a:latin typeface="华文楷体" panose="02010600040101010101" pitchFamily="2" charset="-122"/>
              <a:ea typeface="华文楷体" panose="02010600040101010101" pitchFamily="2" charset="-122"/>
              <a:cs typeface="Arial" panose="020B0604020202020204" pitchFamily="34" charset="0"/>
            </a:endParaRPr>
          </a:p>
          <a:p>
            <a:pPr lvl="1" eaLnBrk="1" hangingPunct="1">
              <a:buFont typeface="Wingdings" panose="05000000000000000000" pitchFamily="2" charset="2"/>
              <a:buChar char="u"/>
            </a:pPr>
            <a:r>
              <a:rPr lang="en-US" altLang="zh-CN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>
                <a:latin typeface="华文楷体" panose="02010600040101010101" pitchFamily="2" charset="-122"/>
                <a:ea typeface="华文楷体" panose="02010600040101010101" pitchFamily="2" charset="-122"/>
              </a:rPr>
              <a:t>对业务背景的分点描述</a:t>
            </a:r>
            <a:r>
              <a:rPr lang="en-US" altLang="zh-CN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</a:p>
        </p:txBody>
      </p:sp>
      <p:sp>
        <p:nvSpPr>
          <p:cNvPr id="19" name="Text Box 6">
            <a:extLst>
              <a:ext uri="{FF2B5EF4-FFF2-40B4-BE49-F238E27FC236}">
                <a16:creationId xmlns:a16="http://schemas.microsoft.com/office/drawing/2014/main" id="{0D1555D1-AC98-4484-9FCC-2AEA0E47CE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7577" y="692696"/>
            <a:ext cx="2452079" cy="320434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 eaLnBrk="1" hangingPunct="1">
              <a:spcAft>
                <a:spcPts val="0"/>
              </a:spcAft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背景：（如适用））</a:t>
            </a:r>
          </a:p>
        </p:txBody>
      </p:sp>
      <p:sp>
        <p:nvSpPr>
          <p:cNvPr id="20" name="线形标注 1(带边框和强调线) 19">
            <a:extLst>
              <a:ext uri="{FF2B5EF4-FFF2-40B4-BE49-F238E27FC236}">
                <a16:creationId xmlns:a16="http://schemas.microsoft.com/office/drawing/2014/main" id="{2FD6C96C-E7F3-4B32-B8B7-5821B45C026B}"/>
              </a:ext>
            </a:extLst>
          </p:cNvPr>
          <p:cNvSpPr/>
          <p:nvPr/>
        </p:nvSpPr>
        <p:spPr>
          <a:xfrm>
            <a:off x="5087938" y="765175"/>
            <a:ext cx="6624637" cy="857250"/>
          </a:xfrm>
          <a:prstGeom prst="accentBorderCallout1">
            <a:avLst>
              <a:gd name="adj1" fmla="val 18750"/>
              <a:gd name="adj2" fmla="val -8333"/>
              <a:gd name="adj3" fmla="val 13651"/>
              <a:gd name="adj4" fmla="val -31767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0000"/>
                </a:solidFill>
              </a:rPr>
              <a:t>如介绍业务背景有助于读者更清楚地理解问题所在和产生原因，请在此描述业务背景，如相关业务的做法、流程、关键角色、术语、相关公司和国家规定。</a:t>
            </a:r>
          </a:p>
        </p:txBody>
      </p:sp>
      <p:sp>
        <p:nvSpPr>
          <p:cNvPr id="27" name="TextBox 19">
            <a:extLst>
              <a:ext uri="{FF2B5EF4-FFF2-40B4-BE49-F238E27FC236}">
                <a16:creationId xmlns:a16="http://schemas.microsoft.com/office/drawing/2014/main" id="{464F41FC-CAEC-44A3-B623-1F2A54889EF3}"/>
              </a:ext>
            </a:extLst>
          </p:cNvPr>
          <p:cNvSpPr txBox="1"/>
          <p:nvPr/>
        </p:nvSpPr>
        <p:spPr>
          <a:xfrm>
            <a:off x="627063" y="5534025"/>
            <a:ext cx="10437812" cy="3317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20000"/>
              </a:lnSpc>
              <a:defRPr/>
            </a:pPr>
            <a:r>
              <a:rPr lang="en-US" altLang="zh-CN" b="1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【】</a:t>
            </a:r>
            <a:r>
              <a:rPr lang="zh-CN" altLang="en-US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。</a:t>
            </a:r>
            <a:endParaRPr lang="en-US" altLang="zh-CN" dirty="0">
              <a:solidFill>
                <a:srgbClr val="000000"/>
              </a:solidFill>
              <a:latin typeface="华文楷体" pitchFamily="2" charset="-122"/>
              <a:ea typeface="华文楷体" pitchFamily="2" charset="-122"/>
              <a:cs typeface="Arial" pitchFamily="34" charset="0"/>
            </a:endParaRPr>
          </a:p>
        </p:txBody>
      </p:sp>
      <p:sp>
        <p:nvSpPr>
          <p:cNvPr id="28" name="Text Box 6">
            <a:extLst>
              <a:ext uri="{FF2B5EF4-FFF2-40B4-BE49-F238E27FC236}">
                <a16:creationId xmlns:a16="http://schemas.microsoft.com/office/drawing/2014/main" id="{9D333968-DC7A-4BE7-8EA3-83538EC989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0695" y="5013176"/>
            <a:ext cx="2350658" cy="420794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 eaLnBrk="1" hangingPunct="1">
              <a:spcAft>
                <a:spcPts val="0"/>
              </a:spcAft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相关人员反馈：</a:t>
            </a:r>
          </a:p>
        </p:txBody>
      </p:sp>
      <p:sp>
        <p:nvSpPr>
          <p:cNvPr id="29" name="线形标注 1(带边框和强调线) 28">
            <a:extLst>
              <a:ext uri="{FF2B5EF4-FFF2-40B4-BE49-F238E27FC236}">
                <a16:creationId xmlns:a16="http://schemas.microsoft.com/office/drawing/2014/main" id="{65CB2CBF-D811-48F5-A6B6-A5117681F4AC}"/>
              </a:ext>
            </a:extLst>
          </p:cNvPr>
          <p:cNvSpPr/>
          <p:nvPr/>
        </p:nvSpPr>
        <p:spPr>
          <a:xfrm>
            <a:off x="7205663" y="5084763"/>
            <a:ext cx="3335337" cy="647700"/>
          </a:xfrm>
          <a:prstGeom prst="accentBorderCallout1">
            <a:avLst>
              <a:gd name="adj1" fmla="val 18750"/>
              <a:gd name="adj2" fmla="val -8333"/>
              <a:gd name="adj3" fmla="val 103791"/>
              <a:gd name="adj4" fmla="val -180238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0000"/>
                </a:solidFill>
              </a:rPr>
              <a:t>说明岗位，不出现姓名。具体见脱敏原则</a:t>
            </a:r>
          </a:p>
        </p:txBody>
      </p:sp>
      <p:graphicFrame>
        <p:nvGraphicFramePr>
          <p:cNvPr id="12314" name="图表 23">
            <a:extLst>
              <a:ext uri="{FF2B5EF4-FFF2-40B4-BE49-F238E27FC236}">
                <a16:creationId xmlns:a16="http://schemas.microsoft.com/office/drawing/2014/main" id="{01BC444E-5171-4CBC-B06F-615E28CC2D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0294762"/>
              </p:ext>
            </p:extLst>
          </p:nvPr>
        </p:nvGraphicFramePr>
        <p:xfrm>
          <a:off x="2046384" y="601597"/>
          <a:ext cx="8229600" cy="5521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Chart" r:id="rId4" imgW="8230313" imgH="5529551" progId="Excel.Chart.8">
                  <p:embed/>
                </p:oleObj>
              </mc:Choice>
              <mc:Fallback>
                <p:oleObj name="Chart" r:id="rId4" imgW="8230313" imgH="5529551" progId="Excel.Chart.8">
                  <p:embed/>
                  <p:pic>
                    <p:nvPicPr>
                      <p:cNvPr id="0" name="图表 2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46384" y="601597"/>
                        <a:ext cx="8229600" cy="5521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 animBg="1"/>
      <p:bldP spid="18" grpId="0"/>
      <p:bldP spid="2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ABE00579-C74D-49C6-9710-742CEF4DE5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53800" y="6453188"/>
            <a:ext cx="457200" cy="300037"/>
          </a:xfrm>
        </p:spPr>
        <p:txBody>
          <a:bodyPr rtlCol="0"/>
          <a:lstStyle/>
          <a:p>
            <a:pPr defTabSz="914303" fontAlgn="auto"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14339" name="TextBox 13">
            <a:extLst>
              <a:ext uri="{FF2B5EF4-FFF2-40B4-BE49-F238E27FC236}">
                <a16:creationId xmlns:a16="http://schemas.microsoft.com/office/drawing/2014/main" id="{7BA312B7-F1BB-4C98-8BDB-15FF252701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000" y="160338"/>
            <a:ext cx="977106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案例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编号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：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【</a:t>
            </a: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航道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+</a:t>
            </a: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职能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+</a:t>
            </a:r>
            <a:r>
              <a:rPr lang="zh-CN" altLang="en-US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案例标题</a:t>
            </a:r>
            <a:r>
              <a:rPr lang="en-US" altLang="zh-CN" sz="2200" b="1">
                <a:latin typeface="华文楷体" panose="02010600040101010101" pitchFamily="2" charset="-122"/>
                <a:ea typeface="华文楷体" panose="02010600040101010101" pitchFamily="2" charset="-122"/>
              </a:rPr>
              <a:t>】</a:t>
            </a:r>
            <a:endParaRPr lang="zh-CN" altLang="en-US" sz="2200" b="1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24" name="TextBox 19">
            <a:extLst>
              <a:ext uri="{FF2B5EF4-FFF2-40B4-BE49-F238E27FC236}">
                <a16:creationId xmlns:a16="http://schemas.microsoft.com/office/drawing/2014/main" id="{760181F4-33B7-4EBA-94A9-592055866DEF}"/>
              </a:ext>
            </a:extLst>
          </p:cNvPr>
          <p:cNvSpPr txBox="1"/>
          <p:nvPr/>
        </p:nvSpPr>
        <p:spPr>
          <a:xfrm>
            <a:off x="623888" y="1387475"/>
            <a:ext cx="10437812" cy="3127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20000"/>
              </a:lnSpc>
              <a:defRPr/>
            </a:pPr>
            <a:r>
              <a:rPr lang="en-US" altLang="zh-CN" b="1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【】</a:t>
            </a:r>
            <a:r>
              <a:rPr lang="zh-CN" altLang="en-US" dirty="0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rPr>
              <a:t>。</a:t>
            </a:r>
            <a:endParaRPr lang="en-US" altLang="zh-CN" dirty="0">
              <a:solidFill>
                <a:srgbClr val="000000"/>
              </a:solidFill>
              <a:latin typeface="华文楷体" pitchFamily="2" charset="-122"/>
              <a:ea typeface="华文楷体" pitchFamily="2" charset="-122"/>
              <a:cs typeface="Arial" pitchFamily="34" charset="0"/>
            </a:endParaRPr>
          </a:p>
        </p:txBody>
      </p:sp>
      <p:sp>
        <p:nvSpPr>
          <p:cNvPr id="26" name="Text Box 6">
            <a:extLst>
              <a:ext uri="{FF2B5EF4-FFF2-40B4-BE49-F238E27FC236}">
                <a16:creationId xmlns:a16="http://schemas.microsoft.com/office/drawing/2014/main" id="{3F933663-3BF4-46C2-AE59-F712C59047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078" y="929568"/>
            <a:ext cx="2218561" cy="374366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3999" tIns="36000" rIns="53999" bIns="36000" anchor="ctr"/>
          <a:lstStyle>
            <a:defPPr>
              <a:defRPr lang="zh-CN"/>
            </a:defPPr>
            <a:lvl1pPr algn="ctr" fontAlgn="ctr">
              <a:spcBef>
                <a:spcPct val="50000"/>
              </a:spcBef>
              <a:buFont typeface="Wingdings" panose="05000000000000000000" pitchFamily="2" charset="2"/>
              <a:buNone/>
              <a:defRPr kumimoji="1" sz="1400" b="1">
                <a:solidFill>
                  <a:srgbClr val="FFFFFF"/>
                </a:solidFill>
                <a:latin typeface="宋体" panose="02010600030101010101" pitchFamily="2" charset="-122"/>
              </a:defRPr>
            </a:lvl1pPr>
          </a:lstStyle>
          <a:p>
            <a:pPr algn="l" defTabSz="914608" eaLnBrk="1" hangingPunct="1">
              <a:spcAft>
                <a:spcPts val="0"/>
              </a:spcAft>
              <a:defRPr/>
            </a:pPr>
            <a:r>
              <a:rPr lang="zh-CN" altLang="en-US" sz="1800" kern="0" dirty="0">
                <a:latin typeface="华文楷体" panose="02010600040101010101" pitchFamily="2" charset="-122"/>
                <a:ea typeface="华文楷体" panose="02010600040101010101" pitchFamily="2" charset="-122"/>
              </a:rPr>
              <a:t>问题定性</a:t>
            </a: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950C8121-163E-43BB-81F9-6A8F217DAFAC}"/>
              </a:ext>
            </a:extLst>
          </p:cNvPr>
          <p:cNvSpPr txBox="1"/>
          <p:nvPr/>
        </p:nvSpPr>
        <p:spPr>
          <a:xfrm>
            <a:off x="648587" y="3717032"/>
            <a:ext cx="2855126" cy="437398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1025" tIns="34017" rIns="51025" bIns="34017" anchor="ctr"/>
          <a:lstStyle>
            <a:defPPr>
              <a:defRPr lang="zh-CN"/>
            </a:defPPr>
            <a:lvl1pPr defTabSz="864235" fontAlgn="ctr">
              <a:spcBef>
                <a:spcPct val="50000"/>
              </a:spcBef>
              <a:spcAft>
                <a:spcPts val="0"/>
              </a:spcAft>
              <a:buFont typeface="Wingdings" panose="05000000000000000000" pitchFamily="2" charset="2"/>
              <a:buNone/>
              <a:defRPr kumimoji="1" b="1">
                <a:solidFill>
                  <a:srgbClr val="FFFFFF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pPr eaLnBrk="1" hangingPunct="1">
              <a:defRPr/>
            </a:pPr>
            <a:r>
              <a:rPr lang="zh-CN" altLang="zh-CN" dirty="0"/>
              <a:t>整改措施</a:t>
            </a:r>
            <a:r>
              <a:rPr lang="zh-CN" altLang="en-US" dirty="0"/>
              <a:t>：</a:t>
            </a:r>
            <a:endParaRPr lang="en-US" altLang="zh-CN" dirty="0"/>
          </a:p>
        </p:txBody>
      </p:sp>
      <p:sp>
        <p:nvSpPr>
          <p:cNvPr id="28" name="TextBox 103">
            <a:extLst>
              <a:ext uri="{FF2B5EF4-FFF2-40B4-BE49-F238E27FC236}">
                <a16:creationId xmlns:a16="http://schemas.microsoft.com/office/drawing/2014/main" id="{CF4CB42F-AE3D-473A-A10C-B80D8B2E77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9763" y="4276725"/>
            <a:ext cx="10715625" cy="12461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 lvl="1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2pPr>
          </a:lstStyle>
          <a:p>
            <a:pPr marL="360000" lvl="1" indent="-285750" eaLnBrk="1" hangingPunct="1">
              <a:lnSpc>
                <a:spcPct val="150000"/>
              </a:lnSpc>
              <a:buFont typeface="Wingdings" panose="05000000000000000000" pitchFamily="2" charset="2"/>
              <a:buChar char="u"/>
              <a:defRPr/>
            </a:pPr>
            <a:r>
              <a:rPr lang="en-US" altLang="zh-CN" sz="1800" b="0" dirty="0"/>
              <a:t>【</a:t>
            </a:r>
            <a:r>
              <a:rPr lang="zh-CN" altLang="zh-CN" sz="1800" b="0" dirty="0"/>
              <a:t>整改方案和</a:t>
            </a:r>
            <a:r>
              <a:rPr lang="zh-CN" altLang="en-US" sz="1800" b="0" dirty="0"/>
              <a:t>改善</a:t>
            </a:r>
            <a:r>
              <a:rPr lang="zh-CN" altLang="zh-CN" sz="1800" b="0" dirty="0"/>
              <a:t>措施</a:t>
            </a:r>
            <a:r>
              <a:rPr lang="en-US" altLang="zh-CN" sz="1800" b="0" dirty="0"/>
              <a:t>1】【</a:t>
            </a:r>
            <a:r>
              <a:rPr lang="zh-CN" altLang="en-US" sz="1800" b="0" dirty="0"/>
              <a:t>负责部门：</a:t>
            </a:r>
            <a:r>
              <a:rPr lang="en-US" altLang="zh-CN" sz="1800" b="0" dirty="0"/>
              <a:t>xxx】</a:t>
            </a:r>
            <a:r>
              <a:rPr lang="zh-CN" altLang="en-US" sz="1800" b="0" dirty="0"/>
              <a:t>；</a:t>
            </a:r>
            <a:endParaRPr lang="en-US" altLang="zh-CN" sz="1800" b="0" dirty="0"/>
          </a:p>
          <a:p>
            <a:pPr marL="360000" lvl="1" indent="-285750" eaLnBrk="1" hangingPunct="1">
              <a:lnSpc>
                <a:spcPct val="150000"/>
              </a:lnSpc>
              <a:buFont typeface="Wingdings" panose="05000000000000000000" pitchFamily="2" charset="2"/>
              <a:buChar char="u"/>
              <a:defRPr/>
            </a:pPr>
            <a:r>
              <a:rPr lang="en-US" altLang="zh-CN" sz="1800" b="0" dirty="0"/>
              <a:t>【</a:t>
            </a:r>
            <a:r>
              <a:rPr lang="zh-CN" altLang="zh-CN" sz="1800" b="0" dirty="0"/>
              <a:t>整改方案和</a:t>
            </a:r>
            <a:r>
              <a:rPr lang="zh-CN" altLang="en-US" sz="1800" b="0" dirty="0"/>
              <a:t>改善</a:t>
            </a:r>
            <a:r>
              <a:rPr lang="zh-CN" altLang="zh-CN" sz="1800" b="0" dirty="0"/>
              <a:t>措施</a:t>
            </a:r>
            <a:r>
              <a:rPr lang="en-US" altLang="zh-CN" sz="1800" b="0" dirty="0"/>
              <a:t>2】【</a:t>
            </a:r>
            <a:r>
              <a:rPr lang="zh-CN" altLang="en-US" sz="1800" b="0" dirty="0"/>
              <a:t>负责部门：</a:t>
            </a:r>
            <a:r>
              <a:rPr lang="en-US" altLang="zh-CN" sz="1800" b="0" dirty="0"/>
              <a:t>xxx】</a:t>
            </a:r>
            <a:r>
              <a:rPr lang="zh-CN" altLang="en-US" sz="1800" b="0" dirty="0"/>
              <a:t>；</a:t>
            </a:r>
            <a:endParaRPr lang="en-US" altLang="zh-CN" sz="1800" b="0" dirty="0"/>
          </a:p>
          <a:p>
            <a:pPr marL="360000" lvl="1" indent="-285750" eaLnBrk="1" hangingPunct="1">
              <a:lnSpc>
                <a:spcPct val="150000"/>
              </a:lnSpc>
              <a:buFont typeface="Wingdings" panose="05000000000000000000" pitchFamily="2" charset="2"/>
              <a:buChar char="u"/>
              <a:defRPr/>
            </a:pPr>
            <a:r>
              <a:rPr lang="en-US" altLang="zh-CN" sz="1800" b="0" dirty="0"/>
              <a:t>【】</a:t>
            </a:r>
          </a:p>
        </p:txBody>
      </p:sp>
      <p:sp>
        <p:nvSpPr>
          <p:cNvPr id="16" name="线形标注 1(带边框和强调线) 15">
            <a:extLst>
              <a:ext uri="{FF2B5EF4-FFF2-40B4-BE49-F238E27FC236}">
                <a16:creationId xmlns:a16="http://schemas.microsoft.com/office/drawing/2014/main" id="{AAAE0569-4751-4F53-B2A0-B1904627E20B}"/>
              </a:ext>
            </a:extLst>
          </p:cNvPr>
          <p:cNvSpPr/>
          <p:nvPr/>
        </p:nvSpPr>
        <p:spPr>
          <a:xfrm>
            <a:off x="7053263" y="908050"/>
            <a:ext cx="4083050" cy="649288"/>
          </a:xfrm>
          <a:prstGeom prst="accentBorderCallout1">
            <a:avLst>
              <a:gd name="adj1" fmla="val 18750"/>
              <a:gd name="adj2" fmla="val -8333"/>
              <a:gd name="adj3" fmla="val 27364"/>
              <a:gd name="adj4" fmla="val -156821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0000"/>
                </a:solidFill>
              </a:rPr>
              <a:t>描述问题性质。如能明确属于一般、重大缺陷还是系统性缺陷，可在此一并说明。</a:t>
            </a:r>
          </a:p>
        </p:txBody>
      </p:sp>
      <p:sp>
        <p:nvSpPr>
          <p:cNvPr id="10" name="TextBox 14">
            <a:extLst>
              <a:ext uri="{FF2B5EF4-FFF2-40B4-BE49-F238E27FC236}">
                <a16:creationId xmlns:a16="http://schemas.microsoft.com/office/drawing/2014/main" id="{68666787-42D9-424A-9231-215FB582AD9F}"/>
              </a:ext>
            </a:extLst>
          </p:cNvPr>
          <p:cNvSpPr txBox="1"/>
          <p:nvPr/>
        </p:nvSpPr>
        <p:spPr>
          <a:xfrm>
            <a:off x="662010" y="2208131"/>
            <a:ext cx="2825873" cy="435243"/>
          </a:xfrm>
          <a:prstGeom prst="rect">
            <a:avLst/>
          </a:prstGeom>
          <a:solidFill>
            <a:srgbClr val="1F497D"/>
          </a:solidFill>
          <a:ln>
            <a:solidFill>
              <a:srgbClr val="4F81BD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51025" tIns="34017" rIns="51025" bIns="34017" anchor="ctr"/>
          <a:lstStyle>
            <a:defPPr>
              <a:defRPr lang="zh-CN"/>
            </a:defPPr>
            <a:lvl1pPr defTabSz="864235" fontAlgn="ctr">
              <a:spcBef>
                <a:spcPct val="50000"/>
              </a:spcBef>
              <a:spcAft>
                <a:spcPts val="0"/>
              </a:spcAft>
              <a:buFont typeface="Wingdings" panose="05000000000000000000" pitchFamily="2" charset="2"/>
              <a:buNone/>
              <a:defRPr kumimoji="1" b="1">
                <a:solidFill>
                  <a:srgbClr val="FFFFFF"/>
                </a:solidFill>
                <a:latin typeface="华文楷体" pitchFamily="2" charset="-122"/>
                <a:ea typeface="华文楷体" pitchFamily="2" charset="-122"/>
              </a:defRPr>
            </a:lvl1pPr>
          </a:lstStyle>
          <a:p>
            <a:pPr eaLnBrk="1" hangingPunct="1">
              <a:defRPr/>
            </a:pPr>
            <a:r>
              <a:rPr lang="zh-CN" altLang="en-US" dirty="0"/>
              <a:t>处理结果： （如适用）</a:t>
            </a:r>
            <a:endParaRPr lang="en-US" altLang="zh-CN" dirty="0"/>
          </a:p>
        </p:txBody>
      </p:sp>
      <p:sp>
        <p:nvSpPr>
          <p:cNvPr id="11" name="TextBox 103">
            <a:extLst>
              <a:ext uri="{FF2B5EF4-FFF2-40B4-BE49-F238E27FC236}">
                <a16:creationId xmlns:a16="http://schemas.microsoft.com/office/drawing/2014/main" id="{CF89C6C7-7190-4A1A-A8A2-E2249E684C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6588" y="2765425"/>
            <a:ext cx="10715625" cy="3762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>
            <a:spAutoFit/>
          </a:bodyPr>
          <a:lstStyle>
            <a:defPPr>
              <a:defRPr lang="zh-CN"/>
            </a:defPPr>
            <a:lvl1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1pPr>
            <a:lvl2pPr lvl="1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00"/>
                </a:solidFill>
                <a:latin typeface="华文楷体" pitchFamily="2" charset="-122"/>
                <a:ea typeface="华文楷体" pitchFamily="2" charset="-122"/>
                <a:cs typeface="Arial" pitchFamily="34" charset="0"/>
              </a:defRPr>
            </a:lvl2pPr>
          </a:lstStyle>
          <a:p>
            <a:pPr marL="74250" lvl="1" eaLnBrk="1" hangingPunct="1">
              <a:lnSpc>
                <a:spcPct val="150000"/>
              </a:lnSpc>
              <a:defRPr/>
            </a:pPr>
            <a:r>
              <a:rPr lang="en-US" altLang="zh-CN" sz="1800" b="0" dirty="0"/>
              <a:t>【】</a:t>
            </a:r>
          </a:p>
        </p:txBody>
      </p:sp>
      <p:pic>
        <p:nvPicPr>
          <p:cNvPr id="14353" name="图片 11" descr="front.jpg">
            <a:extLst>
              <a:ext uri="{FF2B5EF4-FFF2-40B4-BE49-F238E27FC236}">
                <a16:creationId xmlns:a16="http://schemas.microsoft.com/office/drawing/2014/main" id="{D8435412-EBC6-44DF-A70F-03063023C4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3916" y="4070322"/>
            <a:ext cx="3438084" cy="2905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8" grpId="0" animBg="1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lKQhu8kq4JnUQtbed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XiFu2Mhk2IoSGcOPcH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o3lss1tU6A6NQ898ei6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1L4CBiEq9sVikAIAz4w"/>
</p:tagLst>
</file>

<file path=ppt/theme/theme1.xml><?xml version="1.0" encoding="utf-8"?>
<a:theme xmlns:a="http://schemas.openxmlformats.org/drawingml/2006/main" name="新模版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新模版" id="{08E98797-8901-4003-9D28-D83E204E8CBF}" vid="{7BB08F4D-5EF0-4D68-B7E5-975364F9253B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新模版</Template>
  <TotalTime>175434</TotalTime>
  <Words>565</Words>
  <Application>Microsoft Office PowerPoint</Application>
  <PresentationFormat>宽屏</PresentationFormat>
  <Paragraphs>47</Paragraphs>
  <Slides>3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2" baseType="lpstr">
      <vt:lpstr>Arial Unicode MS</vt:lpstr>
      <vt:lpstr>Noto Sans S Chinese Regular</vt:lpstr>
      <vt:lpstr>华文楷体</vt:lpstr>
      <vt:lpstr>Arial</vt:lpstr>
      <vt:lpstr>Calibri</vt:lpstr>
      <vt:lpstr>Calibri Light</vt:lpstr>
      <vt:lpstr>Wingdings</vt:lpstr>
      <vt:lpstr>新模版</vt:lpstr>
      <vt:lpstr>Chart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wudi</dc:creator>
  <cp:lastModifiedBy>张 洋</cp:lastModifiedBy>
  <cp:revision>6883</cp:revision>
  <cp:lastPrinted>2019-09-03T00:27:11Z</cp:lastPrinted>
  <dcterms:created xsi:type="dcterms:W3CDTF">2012-10-30T08:08:10Z</dcterms:created>
  <dcterms:modified xsi:type="dcterms:W3CDTF">2020-02-20T09:16:40Z</dcterms:modified>
</cp:coreProperties>
</file>